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8"/>
  </p:notesMasterIdLst>
  <p:sldIdLst>
    <p:sldId id="347" r:id="rId2"/>
    <p:sldId id="2147470841" r:id="rId3"/>
    <p:sldId id="2147470847" r:id="rId4"/>
    <p:sldId id="2147483609" r:id="rId5"/>
    <p:sldId id="2147469686" r:id="rId6"/>
    <p:sldId id="2147483610" r:id="rId7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B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4926CF3-3208-4A10-A774-EE56EFD8D191}" v="38" dt="2025-05-05T14:14:01.44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59" d="100"/>
          <a:sy n="59" d="100"/>
        </p:scale>
        <p:origin x="96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'Erasmo Marco (EGP&amp;TGX BD)" userId="e38e4b5b-515e-40be-9090-8774d2cb2fc7" providerId="ADAL" clId="{CF58C3F3-0FCF-48F9-9F9A-09FC62B7E734}"/>
    <pc:docChg chg="undo custSel addSld delSld modSld">
      <pc:chgData name="D'Erasmo Marco (EGP&amp;TGX BD)" userId="e38e4b5b-515e-40be-9090-8774d2cb2fc7" providerId="ADAL" clId="{CF58C3F3-0FCF-48F9-9F9A-09FC62B7E734}" dt="2024-05-06T06:23:29.476" v="1116" actId="20577"/>
      <pc:docMkLst>
        <pc:docMk/>
      </pc:docMkLst>
      <pc:sldChg chg="addSp modSp add mod">
        <pc:chgData name="D'Erasmo Marco (EGP&amp;TGX BD)" userId="e38e4b5b-515e-40be-9090-8774d2cb2fc7" providerId="ADAL" clId="{CF58C3F3-0FCF-48F9-9F9A-09FC62B7E734}" dt="2024-05-06T06:22:50.961" v="1108" actId="1076"/>
        <pc:sldMkLst>
          <pc:docMk/>
          <pc:sldMk cId="615906302" sldId="347"/>
        </pc:sldMkLst>
      </pc:sldChg>
      <pc:sldChg chg="del">
        <pc:chgData name="D'Erasmo Marco (EGP&amp;TGX BD)" userId="e38e4b5b-515e-40be-9090-8774d2cb2fc7" providerId="ADAL" clId="{CF58C3F3-0FCF-48F9-9F9A-09FC62B7E734}" dt="2024-05-06T04:56:00.293" v="2" actId="47"/>
        <pc:sldMkLst>
          <pc:docMk/>
          <pc:sldMk cId="921365112" sldId="1448942541"/>
        </pc:sldMkLst>
      </pc:sldChg>
      <pc:sldChg chg="addSp delSp modSp mod">
        <pc:chgData name="D'Erasmo Marco (EGP&amp;TGX BD)" userId="e38e4b5b-515e-40be-9090-8774d2cb2fc7" providerId="ADAL" clId="{CF58C3F3-0FCF-48F9-9F9A-09FC62B7E734}" dt="2024-05-06T06:08:36.502" v="996" actId="1076"/>
        <pc:sldMkLst>
          <pc:docMk/>
          <pc:sldMk cId="691714908" sldId="2147469686"/>
        </pc:sldMkLst>
      </pc:sldChg>
      <pc:sldChg chg="addSp delSp modSp add mod setBg">
        <pc:chgData name="D'Erasmo Marco (EGP&amp;TGX BD)" userId="e38e4b5b-515e-40be-9090-8774d2cb2fc7" providerId="ADAL" clId="{CF58C3F3-0FCF-48F9-9F9A-09FC62B7E734}" dt="2024-05-06T06:01:22.672" v="857" actId="1076"/>
        <pc:sldMkLst>
          <pc:docMk/>
          <pc:sldMk cId="3860684739" sldId="2147470841"/>
        </pc:sldMkLst>
      </pc:sldChg>
      <pc:sldChg chg="addSp modSp add mod setBg">
        <pc:chgData name="D'Erasmo Marco (EGP&amp;TGX BD)" userId="e38e4b5b-515e-40be-9090-8774d2cb2fc7" providerId="ADAL" clId="{CF58C3F3-0FCF-48F9-9F9A-09FC62B7E734}" dt="2024-05-06T06:21:10.563" v="1094" actId="113"/>
        <pc:sldMkLst>
          <pc:docMk/>
          <pc:sldMk cId="1555404491" sldId="2147470847"/>
        </pc:sldMkLst>
      </pc:sldChg>
      <pc:sldChg chg="addSp delSp modSp mod">
        <pc:chgData name="D'Erasmo Marco (EGP&amp;TGX BD)" userId="e38e4b5b-515e-40be-9090-8774d2cb2fc7" providerId="ADAL" clId="{CF58C3F3-0FCF-48F9-9F9A-09FC62B7E734}" dt="2024-05-06T06:23:29.476" v="1116" actId="20577"/>
        <pc:sldMkLst>
          <pc:docMk/>
          <pc:sldMk cId="741999978" sldId="2147474086"/>
        </pc:sldMkLst>
      </pc:sldChg>
    </pc:docChg>
  </pc:docChgLst>
  <pc:docChgLst>
    <pc:chgData name="D'Erasmo Marco (EGP&amp;TGX BD)" userId="e38e4b5b-515e-40be-9090-8774d2cb2fc7" providerId="ADAL" clId="{54926CF3-3208-4A10-A774-EE56EFD8D191}"/>
    <pc:docChg chg="undo custSel addSld delSld modSld">
      <pc:chgData name="D'Erasmo Marco (EGP&amp;TGX BD)" userId="e38e4b5b-515e-40be-9090-8774d2cb2fc7" providerId="ADAL" clId="{54926CF3-3208-4A10-A774-EE56EFD8D191}" dt="2025-05-05T14:14:04.062" v="766" actId="1076"/>
      <pc:docMkLst>
        <pc:docMk/>
      </pc:docMkLst>
      <pc:sldChg chg="modSp mod">
        <pc:chgData name="D'Erasmo Marco (EGP&amp;TGX BD)" userId="e38e4b5b-515e-40be-9090-8774d2cb2fc7" providerId="ADAL" clId="{54926CF3-3208-4A10-A774-EE56EFD8D191}" dt="2025-05-05T13:17:09.021" v="5" actId="20577"/>
        <pc:sldMkLst>
          <pc:docMk/>
          <pc:sldMk cId="615906302" sldId="347"/>
        </pc:sldMkLst>
        <pc:spChg chg="mod">
          <ac:chgData name="D'Erasmo Marco (EGP&amp;TGX BD)" userId="e38e4b5b-515e-40be-9090-8774d2cb2fc7" providerId="ADAL" clId="{54926CF3-3208-4A10-A774-EE56EFD8D191}" dt="2025-05-05T13:17:09.021" v="5" actId="20577"/>
          <ac:spMkLst>
            <pc:docMk/>
            <pc:sldMk cId="615906302" sldId="347"/>
            <ac:spMk id="5" creationId="{00000000-0000-0000-0000-000000000000}"/>
          </ac:spMkLst>
        </pc:spChg>
      </pc:sldChg>
      <pc:sldChg chg="modSp mod">
        <pc:chgData name="D'Erasmo Marco (EGP&amp;TGX BD)" userId="e38e4b5b-515e-40be-9090-8774d2cb2fc7" providerId="ADAL" clId="{54926CF3-3208-4A10-A774-EE56EFD8D191}" dt="2025-05-05T13:32:36.256" v="411"/>
        <pc:sldMkLst>
          <pc:docMk/>
          <pc:sldMk cId="691714908" sldId="2147469686"/>
        </pc:sldMkLst>
        <pc:spChg chg="mod">
          <ac:chgData name="D'Erasmo Marco (EGP&amp;TGX BD)" userId="e38e4b5b-515e-40be-9090-8774d2cb2fc7" providerId="ADAL" clId="{54926CF3-3208-4A10-A774-EE56EFD8D191}" dt="2025-05-05T13:32:36.256" v="411"/>
          <ac:spMkLst>
            <pc:docMk/>
            <pc:sldMk cId="691714908" sldId="2147469686"/>
            <ac:spMk id="6" creationId="{BE558D66-B6A2-5238-3798-E3D11ECDABFC}"/>
          </ac:spMkLst>
        </pc:spChg>
        <pc:spChg chg="mod">
          <ac:chgData name="D'Erasmo Marco (EGP&amp;TGX BD)" userId="e38e4b5b-515e-40be-9090-8774d2cb2fc7" providerId="ADAL" clId="{54926CF3-3208-4A10-A774-EE56EFD8D191}" dt="2025-05-05T13:29:28.654" v="241" actId="20577"/>
          <ac:spMkLst>
            <pc:docMk/>
            <pc:sldMk cId="691714908" sldId="2147469686"/>
            <ac:spMk id="56" creationId="{7FF70B64-8562-B171-7CFB-2A3784131563}"/>
          </ac:spMkLst>
        </pc:spChg>
      </pc:sldChg>
      <pc:sldChg chg="addSp delSp modSp mod">
        <pc:chgData name="D'Erasmo Marco (EGP&amp;TGX BD)" userId="e38e4b5b-515e-40be-9090-8774d2cb2fc7" providerId="ADAL" clId="{54926CF3-3208-4A10-A774-EE56EFD8D191}" dt="2025-05-05T14:12:28.589" v="748"/>
        <pc:sldMkLst>
          <pc:docMk/>
          <pc:sldMk cId="3860684739" sldId="2147470841"/>
        </pc:sldMkLst>
        <pc:spChg chg="add mod">
          <ac:chgData name="D'Erasmo Marco (EGP&amp;TGX BD)" userId="e38e4b5b-515e-40be-9090-8774d2cb2fc7" providerId="ADAL" clId="{54926CF3-3208-4A10-A774-EE56EFD8D191}" dt="2025-05-05T14:11:57.435" v="734" actId="20577"/>
          <ac:spMkLst>
            <pc:docMk/>
            <pc:sldMk cId="3860684739" sldId="2147470841"/>
            <ac:spMk id="10" creationId="{CDA3E166-A86A-C4F8-BF54-9AA4D7A7059A}"/>
          </ac:spMkLst>
        </pc:spChg>
        <pc:spChg chg="add mod">
          <ac:chgData name="D'Erasmo Marco (EGP&amp;TGX BD)" userId="e38e4b5b-515e-40be-9090-8774d2cb2fc7" providerId="ADAL" clId="{54926CF3-3208-4A10-A774-EE56EFD8D191}" dt="2025-05-05T14:11:58.558" v="735" actId="20577"/>
          <ac:spMkLst>
            <pc:docMk/>
            <pc:sldMk cId="3860684739" sldId="2147470841"/>
            <ac:spMk id="11" creationId="{238FDD1C-FBAC-F730-5DF1-FE468B47EBEC}"/>
          </ac:spMkLst>
        </pc:spChg>
        <pc:spChg chg="add mod">
          <ac:chgData name="D'Erasmo Marco (EGP&amp;TGX BD)" userId="e38e4b5b-515e-40be-9090-8774d2cb2fc7" providerId="ADAL" clId="{54926CF3-3208-4A10-A774-EE56EFD8D191}" dt="2025-05-05T14:08:35.206" v="676" actId="164"/>
          <ac:spMkLst>
            <pc:docMk/>
            <pc:sldMk cId="3860684739" sldId="2147470841"/>
            <ac:spMk id="17" creationId="{B4385FE7-317B-E4EE-F55F-389830CE4CFA}"/>
          </ac:spMkLst>
        </pc:spChg>
        <pc:spChg chg="add mod">
          <ac:chgData name="D'Erasmo Marco (EGP&amp;TGX BD)" userId="e38e4b5b-515e-40be-9090-8774d2cb2fc7" providerId="ADAL" clId="{54926CF3-3208-4A10-A774-EE56EFD8D191}" dt="2025-05-05T14:08:35.206" v="676" actId="164"/>
          <ac:spMkLst>
            <pc:docMk/>
            <pc:sldMk cId="3860684739" sldId="2147470841"/>
            <ac:spMk id="18" creationId="{80D078B9-691F-AB99-C844-510204380616}"/>
          </ac:spMkLst>
        </pc:spChg>
        <pc:spChg chg="add mod">
          <ac:chgData name="D'Erasmo Marco (EGP&amp;TGX BD)" userId="e38e4b5b-515e-40be-9090-8774d2cb2fc7" providerId="ADAL" clId="{54926CF3-3208-4A10-A774-EE56EFD8D191}" dt="2025-05-05T14:08:35.206" v="676" actId="164"/>
          <ac:spMkLst>
            <pc:docMk/>
            <pc:sldMk cId="3860684739" sldId="2147470841"/>
            <ac:spMk id="19" creationId="{09D70397-5361-4394-E3E7-DA9CD4CC8EEB}"/>
          </ac:spMkLst>
        </pc:spChg>
        <pc:spChg chg="add mod">
          <ac:chgData name="D'Erasmo Marco (EGP&amp;TGX BD)" userId="e38e4b5b-515e-40be-9090-8774d2cb2fc7" providerId="ADAL" clId="{54926CF3-3208-4A10-A774-EE56EFD8D191}" dt="2025-05-05T14:08:35.206" v="676" actId="164"/>
          <ac:spMkLst>
            <pc:docMk/>
            <pc:sldMk cId="3860684739" sldId="2147470841"/>
            <ac:spMk id="20" creationId="{78513434-86C9-593B-1754-8FB1F5F02B61}"/>
          </ac:spMkLst>
        </pc:spChg>
        <pc:spChg chg="mod">
          <ac:chgData name="D'Erasmo Marco (EGP&amp;TGX BD)" userId="e38e4b5b-515e-40be-9090-8774d2cb2fc7" providerId="ADAL" clId="{54926CF3-3208-4A10-A774-EE56EFD8D191}" dt="2025-05-05T14:09:31.624" v="694"/>
          <ac:spMkLst>
            <pc:docMk/>
            <pc:sldMk cId="3860684739" sldId="2147470841"/>
            <ac:spMk id="24" creationId="{5EF91386-E5B4-732C-61A0-DDEEC219C6C8}"/>
          </ac:spMkLst>
        </pc:spChg>
        <pc:spChg chg="mod">
          <ac:chgData name="D'Erasmo Marco (EGP&amp;TGX BD)" userId="e38e4b5b-515e-40be-9090-8774d2cb2fc7" providerId="ADAL" clId="{54926CF3-3208-4A10-A774-EE56EFD8D191}" dt="2025-05-05T14:09:31.624" v="694"/>
          <ac:spMkLst>
            <pc:docMk/>
            <pc:sldMk cId="3860684739" sldId="2147470841"/>
            <ac:spMk id="25" creationId="{E1EB0A07-A8FE-5F6A-6477-921A27FA90D9}"/>
          </ac:spMkLst>
        </pc:spChg>
        <pc:spChg chg="mod">
          <ac:chgData name="D'Erasmo Marco (EGP&amp;TGX BD)" userId="e38e4b5b-515e-40be-9090-8774d2cb2fc7" providerId="ADAL" clId="{54926CF3-3208-4A10-A774-EE56EFD8D191}" dt="2025-05-05T14:09:31.624" v="694"/>
          <ac:spMkLst>
            <pc:docMk/>
            <pc:sldMk cId="3860684739" sldId="2147470841"/>
            <ac:spMk id="26" creationId="{DB799EAA-BE8B-D7BD-A68A-BF85670B4B5B}"/>
          </ac:spMkLst>
        </pc:spChg>
        <pc:spChg chg="mod">
          <ac:chgData name="D'Erasmo Marco (EGP&amp;TGX BD)" userId="e38e4b5b-515e-40be-9090-8774d2cb2fc7" providerId="ADAL" clId="{54926CF3-3208-4A10-A774-EE56EFD8D191}" dt="2025-05-05T14:09:31.624" v="694"/>
          <ac:spMkLst>
            <pc:docMk/>
            <pc:sldMk cId="3860684739" sldId="2147470841"/>
            <ac:spMk id="27" creationId="{AF9CA5F7-316C-454E-6EFD-1DB5F11A3301}"/>
          </ac:spMkLst>
        </pc:spChg>
        <pc:spChg chg="mod">
          <ac:chgData name="D'Erasmo Marco (EGP&amp;TGX BD)" userId="e38e4b5b-515e-40be-9090-8774d2cb2fc7" providerId="ADAL" clId="{54926CF3-3208-4A10-A774-EE56EFD8D191}" dt="2025-05-05T14:09:31.624" v="694"/>
          <ac:spMkLst>
            <pc:docMk/>
            <pc:sldMk cId="3860684739" sldId="2147470841"/>
            <ac:spMk id="28" creationId="{FE15E93F-280C-E7B1-AC37-07252EF38762}"/>
          </ac:spMkLst>
        </pc:spChg>
        <pc:spChg chg="add mod">
          <ac:chgData name="D'Erasmo Marco (EGP&amp;TGX BD)" userId="e38e4b5b-515e-40be-9090-8774d2cb2fc7" providerId="ADAL" clId="{54926CF3-3208-4A10-A774-EE56EFD8D191}" dt="2025-05-05T14:11:20.631" v="726" actId="1035"/>
          <ac:spMkLst>
            <pc:docMk/>
            <pc:sldMk cId="3860684739" sldId="2147470841"/>
            <ac:spMk id="29" creationId="{54D3A12C-0C16-D5B3-F1C7-E2BB7BD69735}"/>
          </ac:spMkLst>
        </pc:spChg>
        <pc:spChg chg="add mod">
          <ac:chgData name="D'Erasmo Marco (EGP&amp;TGX BD)" userId="e38e4b5b-515e-40be-9090-8774d2cb2fc7" providerId="ADAL" clId="{54926CF3-3208-4A10-A774-EE56EFD8D191}" dt="2025-05-05T14:12:13.748" v="740" actId="1076"/>
          <ac:spMkLst>
            <pc:docMk/>
            <pc:sldMk cId="3860684739" sldId="2147470841"/>
            <ac:spMk id="30" creationId="{32068A92-F8F8-CB01-ABE0-73E3D4982176}"/>
          </ac:spMkLst>
        </pc:spChg>
        <pc:spChg chg="add mod">
          <ac:chgData name="D'Erasmo Marco (EGP&amp;TGX BD)" userId="e38e4b5b-515e-40be-9090-8774d2cb2fc7" providerId="ADAL" clId="{54926CF3-3208-4A10-A774-EE56EFD8D191}" dt="2025-05-05T14:12:17.412" v="741" actId="1076"/>
          <ac:spMkLst>
            <pc:docMk/>
            <pc:sldMk cId="3860684739" sldId="2147470841"/>
            <ac:spMk id="31" creationId="{19ACEB12-C957-A4FD-EAFD-310E7072BBC8}"/>
          </ac:spMkLst>
        </pc:spChg>
        <pc:spChg chg="add mod">
          <ac:chgData name="D'Erasmo Marco (EGP&amp;TGX BD)" userId="e38e4b5b-515e-40be-9090-8774d2cb2fc7" providerId="ADAL" clId="{54926CF3-3208-4A10-A774-EE56EFD8D191}" dt="2025-05-05T14:12:28.589" v="748"/>
          <ac:spMkLst>
            <pc:docMk/>
            <pc:sldMk cId="3860684739" sldId="2147470841"/>
            <ac:spMk id="32" creationId="{CD1FF9AA-71D2-94F6-E1B6-8675356EA524}"/>
          </ac:spMkLst>
        </pc:spChg>
        <pc:spChg chg="add del mod">
          <ac:chgData name="D'Erasmo Marco (EGP&amp;TGX BD)" userId="e38e4b5b-515e-40be-9090-8774d2cb2fc7" providerId="ADAL" clId="{54926CF3-3208-4A10-A774-EE56EFD8D191}" dt="2025-05-05T14:09:46.530" v="702" actId="1076"/>
          <ac:spMkLst>
            <pc:docMk/>
            <pc:sldMk cId="3860684739" sldId="2147470841"/>
            <ac:spMk id="100" creationId="{F4D51434-370B-40CA-B19F-51710107967C}"/>
          </ac:spMkLst>
        </pc:spChg>
        <pc:spChg chg="mod">
          <ac:chgData name="D'Erasmo Marco (EGP&amp;TGX BD)" userId="e38e4b5b-515e-40be-9090-8774d2cb2fc7" providerId="ADAL" clId="{54926CF3-3208-4A10-A774-EE56EFD8D191}" dt="2025-05-05T13:57:28.526" v="574" actId="20577"/>
          <ac:spMkLst>
            <pc:docMk/>
            <pc:sldMk cId="3860684739" sldId="2147470841"/>
            <ac:spMk id="105" creationId="{1BB1D47C-4E3B-43B1-8867-71956B43044D}"/>
          </ac:spMkLst>
        </pc:spChg>
        <pc:spChg chg="mod">
          <ac:chgData name="D'Erasmo Marco (EGP&amp;TGX BD)" userId="e38e4b5b-515e-40be-9090-8774d2cb2fc7" providerId="ADAL" clId="{54926CF3-3208-4A10-A774-EE56EFD8D191}" dt="2025-05-05T14:00:30.291" v="589" actId="20577"/>
          <ac:spMkLst>
            <pc:docMk/>
            <pc:sldMk cId="3860684739" sldId="2147470841"/>
            <ac:spMk id="115" creationId="{5D2CEB83-F5AE-4A34-99FB-FB23C95703D1}"/>
          </ac:spMkLst>
        </pc:spChg>
        <pc:spChg chg="mod topLvl">
          <ac:chgData name="D'Erasmo Marco (EGP&amp;TGX BD)" userId="e38e4b5b-515e-40be-9090-8774d2cb2fc7" providerId="ADAL" clId="{54926CF3-3208-4A10-A774-EE56EFD8D191}" dt="2025-05-05T13:53:24.902" v="539" actId="478"/>
          <ac:spMkLst>
            <pc:docMk/>
            <pc:sldMk cId="3860684739" sldId="2147470841"/>
            <ac:spMk id="119" creationId="{3F68FC8D-BB16-414B-B2CB-DF776CF01C88}"/>
          </ac:spMkLst>
        </pc:spChg>
        <pc:spChg chg="mod">
          <ac:chgData name="D'Erasmo Marco (EGP&amp;TGX BD)" userId="e38e4b5b-515e-40be-9090-8774d2cb2fc7" providerId="ADAL" clId="{54926CF3-3208-4A10-A774-EE56EFD8D191}" dt="2025-05-05T14:12:21.067" v="747" actId="1038"/>
          <ac:spMkLst>
            <pc:docMk/>
            <pc:sldMk cId="3860684739" sldId="2147470841"/>
            <ac:spMk id="122" creationId="{AEF1EC5A-6FAD-4B39-B0F5-FC706827028E}"/>
          </ac:spMkLst>
        </pc:spChg>
        <pc:spChg chg="add del">
          <ac:chgData name="D'Erasmo Marco (EGP&amp;TGX BD)" userId="e38e4b5b-515e-40be-9090-8774d2cb2fc7" providerId="ADAL" clId="{54926CF3-3208-4A10-A774-EE56EFD8D191}" dt="2025-05-05T14:00:16.772" v="577" actId="478"/>
          <ac:spMkLst>
            <pc:docMk/>
            <pc:sldMk cId="3860684739" sldId="2147470841"/>
            <ac:spMk id="128" creationId="{8AC63775-425D-4BB3-A05C-8C634A8C4265}"/>
          </ac:spMkLst>
        </pc:spChg>
        <pc:spChg chg="mod">
          <ac:chgData name="D'Erasmo Marco (EGP&amp;TGX BD)" userId="e38e4b5b-515e-40be-9090-8774d2cb2fc7" providerId="ADAL" clId="{54926CF3-3208-4A10-A774-EE56EFD8D191}" dt="2025-05-05T14:10:10.162" v="707" actId="1076"/>
          <ac:spMkLst>
            <pc:docMk/>
            <pc:sldMk cId="3860684739" sldId="2147470841"/>
            <ac:spMk id="129" creationId="{86F9F26F-7016-4BFC-AFBA-3ACDD3B79E84}"/>
          </ac:spMkLst>
        </pc:spChg>
        <pc:grpChg chg="add mod">
          <ac:chgData name="D'Erasmo Marco (EGP&amp;TGX BD)" userId="e38e4b5b-515e-40be-9090-8774d2cb2fc7" providerId="ADAL" clId="{54926CF3-3208-4A10-A774-EE56EFD8D191}" dt="2025-05-05T14:08:59.284" v="684" actId="164"/>
          <ac:grpSpMkLst>
            <pc:docMk/>
            <pc:sldMk cId="3860684739" sldId="2147470841"/>
            <ac:grpSpMk id="21" creationId="{45AB7625-7399-4762-BDA2-FAFA8E243E02}"/>
          </ac:grpSpMkLst>
        </pc:grpChg>
        <pc:grpChg chg="add mod ord">
          <ac:chgData name="D'Erasmo Marco (EGP&amp;TGX BD)" userId="e38e4b5b-515e-40be-9090-8774d2cb2fc7" providerId="ADAL" clId="{54926CF3-3208-4A10-A774-EE56EFD8D191}" dt="2025-05-05T14:09:25.339" v="693" actId="1076"/>
          <ac:grpSpMkLst>
            <pc:docMk/>
            <pc:sldMk cId="3860684739" sldId="2147470841"/>
            <ac:grpSpMk id="22" creationId="{869CEB38-B3C3-FCFD-0B65-12E74C43051E}"/>
          </ac:grpSpMkLst>
        </pc:grpChg>
        <pc:grpChg chg="add mod">
          <ac:chgData name="D'Erasmo Marco (EGP&amp;TGX BD)" userId="e38e4b5b-515e-40be-9090-8774d2cb2fc7" providerId="ADAL" clId="{54926CF3-3208-4A10-A774-EE56EFD8D191}" dt="2025-05-05T14:09:58.843" v="706" actId="1076"/>
          <ac:grpSpMkLst>
            <pc:docMk/>
            <pc:sldMk cId="3860684739" sldId="2147470841"/>
            <ac:grpSpMk id="23" creationId="{D4C8D6AD-6824-1A7B-5A3E-1C2F4CD8CB5E}"/>
          </ac:grpSpMkLst>
        </pc:grpChg>
        <pc:grpChg chg="add del mod">
          <ac:chgData name="D'Erasmo Marco (EGP&amp;TGX BD)" userId="e38e4b5b-515e-40be-9090-8774d2cb2fc7" providerId="ADAL" clId="{54926CF3-3208-4A10-A774-EE56EFD8D191}" dt="2025-05-05T14:11:24.458" v="727" actId="478"/>
          <ac:grpSpMkLst>
            <pc:docMk/>
            <pc:sldMk cId="3860684739" sldId="2147470841"/>
            <ac:grpSpMk id="117" creationId="{EE9E5514-D2D4-40A6-B1EF-DC7051F8B642}"/>
          </ac:grpSpMkLst>
        </pc:grpChg>
        <pc:picChg chg="add mod">
          <ac:chgData name="D'Erasmo Marco (EGP&amp;TGX BD)" userId="e38e4b5b-515e-40be-9090-8774d2cb2fc7" providerId="ADAL" clId="{54926CF3-3208-4A10-A774-EE56EFD8D191}" dt="2025-05-05T14:01:48.424" v="604" actId="1076"/>
          <ac:picMkLst>
            <pc:docMk/>
            <pc:sldMk cId="3860684739" sldId="2147470841"/>
            <ac:picMk id="5" creationId="{C310A082-7F96-DBDD-E17C-CC7EDDF0A9EE}"/>
          </ac:picMkLst>
        </pc:picChg>
        <pc:picChg chg="add mod ord">
          <ac:chgData name="D'Erasmo Marco (EGP&amp;TGX BD)" userId="e38e4b5b-515e-40be-9090-8774d2cb2fc7" providerId="ADAL" clId="{54926CF3-3208-4A10-A774-EE56EFD8D191}" dt="2025-05-05T14:08:59.284" v="684" actId="164"/>
          <ac:picMkLst>
            <pc:docMk/>
            <pc:sldMk cId="3860684739" sldId="2147470841"/>
            <ac:picMk id="7" creationId="{1B4BAC12-DBDC-FD08-CB33-443F0B0989CD}"/>
          </ac:picMkLst>
        </pc:picChg>
        <pc:picChg chg="mod">
          <ac:chgData name="D'Erasmo Marco (EGP&amp;TGX BD)" userId="e38e4b5b-515e-40be-9090-8774d2cb2fc7" providerId="ADAL" clId="{54926CF3-3208-4A10-A774-EE56EFD8D191}" dt="2025-05-05T14:01:15.159" v="599" actId="1076"/>
          <ac:picMkLst>
            <pc:docMk/>
            <pc:sldMk cId="3860684739" sldId="2147470841"/>
            <ac:picMk id="43" creationId="{3C912CA1-FBEA-4E8F-A248-C31FA9AEC013}"/>
          </ac:picMkLst>
        </pc:picChg>
        <pc:picChg chg="del">
          <ac:chgData name="D'Erasmo Marco (EGP&amp;TGX BD)" userId="e38e4b5b-515e-40be-9090-8774d2cb2fc7" providerId="ADAL" clId="{54926CF3-3208-4A10-A774-EE56EFD8D191}" dt="2025-05-05T14:00:46.195" v="590" actId="478"/>
          <ac:picMkLst>
            <pc:docMk/>
            <pc:sldMk cId="3860684739" sldId="2147470841"/>
            <ac:picMk id="116" creationId="{AE034A8E-B4BF-4195-A26B-CFEAE2D59C4E}"/>
          </ac:picMkLst>
        </pc:picChg>
        <pc:picChg chg="add del mod topLvl">
          <ac:chgData name="D'Erasmo Marco (EGP&amp;TGX BD)" userId="e38e4b5b-515e-40be-9090-8774d2cb2fc7" providerId="ADAL" clId="{54926CF3-3208-4A10-A774-EE56EFD8D191}" dt="2025-05-05T13:53:34.923" v="541" actId="1076"/>
          <ac:picMkLst>
            <pc:docMk/>
            <pc:sldMk cId="3860684739" sldId="2147470841"/>
            <ac:picMk id="118" creationId="{037D2A28-34BE-475E-8A92-C5DF07B326CC}"/>
          </ac:picMkLst>
        </pc:picChg>
        <pc:cxnChg chg="add mod">
          <ac:chgData name="D'Erasmo Marco (EGP&amp;TGX BD)" userId="e38e4b5b-515e-40be-9090-8774d2cb2fc7" providerId="ADAL" clId="{54926CF3-3208-4A10-A774-EE56EFD8D191}" dt="2025-05-05T14:08:35.206" v="676" actId="164"/>
          <ac:cxnSpMkLst>
            <pc:docMk/>
            <pc:sldMk cId="3860684739" sldId="2147470841"/>
            <ac:cxnSpMk id="13" creationId="{F78F938E-FA04-132F-DB0D-2B4C57041093}"/>
          </ac:cxnSpMkLst>
        </pc:cxnChg>
        <pc:cxnChg chg="add mod">
          <ac:chgData name="D'Erasmo Marco (EGP&amp;TGX BD)" userId="e38e4b5b-515e-40be-9090-8774d2cb2fc7" providerId="ADAL" clId="{54926CF3-3208-4A10-A774-EE56EFD8D191}" dt="2025-05-05T14:08:35.206" v="676" actId="164"/>
          <ac:cxnSpMkLst>
            <pc:docMk/>
            <pc:sldMk cId="3860684739" sldId="2147470841"/>
            <ac:cxnSpMk id="14" creationId="{EBD66983-470E-E900-26C2-DE538F629668}"/>
          </ac:cxnSpMkLst>
        </pc:cxnChg>
      </pc:sldChg>
      <pc:sldChg chg="modSp mod">
        <pc:chgData name="D'Erasmo Marco (EGP&amp;TGX BD)" userId="e38e4b5b-515e-40be-9090-8774d2cb2fc7" providerId="ADAL" clId="{54926CF3-3208-4A10-A774-EE56EFD8D191}" dt="2025-05-05T13:42:56.764" v="524" actId="20577"/>
        <pc:sldMkLst>
          <pc:docMk/>
          <pc:sldMk cId="1555404491" sldId="2147470847"/>
        </pc:sldMkLst>
        <pc:spChg chg="mod">
          <ac:chgData name="D'Erasmo Marco (EGP&amp;TGX BD)" userId="e38e4b5b-515e-40be-9090-8774d2cb2fc7" providerId="ADAL" clId="{54926CF3-3208-4A10-A774-EE56EFD8D191}" dt="2025-05-05T13:42:56.764" v="524" actId="20577"/>
          <ac:spMkLst>
            <pc:docMk/>
            <pc:sldMk cId="1555404491" sldId="2147470847"/>
            <ac:spMk id="238" creationId="{9ABF27E5-3959-0A08-95BA-3273E039AFBE}"/>
          </ac:spMkLst>
        </pc:spChg>
        <pc:spChg chg="mod">
          <ac:chgData name="D'Erasmo Marco (EGP&amp;TGX BD)" userId="e38e4b5b-515e-40be-9090-8774d2cb2fc7" providerId="ADAL" clId="{54926CF3-3208-4A10-A774-EE56EFD8D191}" dt="2025-05-05T13:32:48.173" v="432" actId="20577"/>
          <ac:spMkLst>
            <pc:docMk/>
            <pc:sldMk cId="1555404491" sldId="2147470847"/>
            <ac:spMk id="246" creationId="{8D17C6C2-7990-614A-E5B2-E665AEF10563}"/>
          </ac:spMkLst>
        </pc:spChg>
        <pc:spChg chg="mod">
          <ac:chgData name="D'Erasmo Marco (EGP&amp;TGX BD)" userId="e38e4b5b-515e-40be-9090-8774d2cb2fc7" providerId="ADAL" clId="{54926CF3-3208-4A10-A774-EE56EFD8D191}" dt="2025-05-05T13:32:56.879" v="449" actId="20577"/>
          <ac:spMkLst>
            <pc:docMk/>
            <pc:sldMk cId="1555404491" sldId="2147470847"/>
            <ac:spMk id="247" creationId="{20EF5649-38B8-1E5A-B4F2-76070989A2A1}"/>
          </ac:spMkLst>
        </pc:spChg>
        <pc:spChg chg="mod">
          <ac:chgData name="D'Erasmo Marco (EGP&amp;TGX BD)" userId="e38e4b5b-515e-40be-9090-8774d2cb2fc7" providerId="ADAL" clId="{54926CF3-3208-4A10-A774-EE56EFD8D191}" dt="2025-05-05T13:38:45.817" v="515" actId="20577"/>
          <ac:spMkLst>
            <pc:docMk/>
            <pc:sldMk cId="1555404491" sldId="2147470847"/>
            <ac:spMk id="249" creationId="{FCCB75B1-7197-0EE4-2EFE-DB2A2FC84FA4}"/>
          </ac:spMkLst>
        </pc:spChg>
        <pc:graphicFrameChg chg="mod">
          <ac:chgData name="D'Erasmo Marco (EGP&amp;TGX BD)" userId="e38e4b5b-515e-40be-9090-8774d2cb2fc7" providerId="ADAL" clId="{54926CF3-3208-4A10-A774-EE56EFD8D191}" dt="2025-05-05T13:41:19.577" v="518" actId="20577"/>
          <ac:graphicFrameMkLst>
            <pc:docMk/>
            <pc:sldMk cId="1555404491" sldId="2147470847"/>
            <ac:graphicFrameMk id="151" creationId="{D0B5D897-F917-CB78-5662-89DF580E9689}"/>
          </ac:graphicFrameMkLst>
        </pc:graphicFrameChg>
      </pc:sldChg>
      <pc:sldChg chg="del">
        <pc:chgData name="D'Erasmo Marco (EGP&amp;TGX BD)" userId="e38e4b5b-515e-40be-9090-8774d2cb2fc7" providerId="ADAL" clId="{54926CF3-3208-4A10-A774-EE56EFD8D191}" dt="2025-05-05T13:23:05.988" v="84" actId="47"/>
        <pc:sldMkLst>
          <pc:docMk/>
          <pc:sldMk cId="741999978" sldId="2147474086"/>
        </pc:sldMkLst>
      </pc:sldChg>
      <pc:sldChg chg="addSp delSp modSp add mod">
        <pc:chgData name="D'Erasmo Marco (EGP&amp;TGX BD)" userId="e38e4b5b-515e-40be-9090-8774d2cb2fc7" providerId="ADAL" clId="{54926CF3-3208-4A10-A774-EE56EFD8D191}" dt="2025-05-05T14:14:04.062" v="766" actId="1076"/>
        <pc:sldMkLst>
          <pc:docMk/>
          <pc:sldMk cId="2833602957" sldId="2147483609"/>
        </pc:sldMkLst>
        <pc:spChg chg="del">
          <ac:chgData name="D'Erasmo Marco (EGP&amp;TGX BD)" userId="e38e4b5b-515e-40be-9090-8774d2cb2fc7" providerId="ADAL" clId="{54926CF3-3208-4A10-A774-EE56EFD8D191}" dt="2025-05-05T13:26:18.387" v="157" actId="478"/>
          <ac:spMkLst>
            <pc:docMk/>
            <pc:sldMk cId="2833602957" sldId="2147483609"/>
            <ac:spMk id="2" creationId="{B7383FCC-E56C-ADDF-37D3-BFE6572535D9}"/>
          </ac:spMkLst>
        </pc:spChg>
        <pc:spChg chg="add mod">
          <ac:chgData name="D'Erasmo Marco (EGP&amp;TGX BD)" userId="e38e4b5b-515e-40be-9090-8774d2cb2fc7" providerId="ADAL" clId="{54926CF3-3208-4A10-A774-EE56EFD8D191}" dt="2025-05-05T13:29:20.006" v="238"/>
          <ac:spMkLst>
            <pc:docMk/>
            <pc:sldMk cId="2833602957" sldId="2147483609"/>
            <ac:spMk id="3" creationId="{23F6577F-19BE-F615-D95B-90816DDA1BAB}"/>
          </ac:spMkLst>
        </pc:spChg>
        <pc:spChg chg="add mod">
          <ac:chgData name="D'Erasmo Marco (EGP&amp;TGX BD)" userId="e38e4b5b-515e-40be-9090-8774d2cb2fc7" providerId="ADAL" clId="{54926CF3-3208-4A10-A774-EE56EFD8D191}" dt="2025-05-05T13:29:23.898" v="239"/>
          <ac:spMkLst>
            <pc:docMk/>
            <pc:sldMk cId="2833602957" sldId="2147483609"/>
            <ac:spMk id="4" creationId="{15DA4CE1-8498-330E-185F-91BB4AE1215A}"/>
          </ac:spMkLst>
        </pc:spChg>
        <pc:spChg chg="mod">
          <ac:chgData name="D'Erasmo Marco (EGP&amp;TGX BD)" userId="e38e4b5b-515e-40be-9090-8774d2cb2fc7" providerId="ADAL" clId="{54926CF3-3208-4A10-A774-EE56EFD8D191}" dt="2025-05-05T13:29:05.065" v="218" actId="20577"/>
          <ac:spMkLst>
            <pc:docMk/>
            <pc:sldMk cId="2833602957" sldId="2147483609"/>
            <ac:spMk id="5" creationId="{01FE87CE-A93D-7556-ECDA-DA7DC61A1D24}"/>
          </ac:spMkLst>
        </pc:spChg>
        <pc:spChg chg="add mod">
          <ac:chgData name="D'Erasmo Marco (EGP&amp;TGX BD)" userId="e38e4b5b-515e-40be-9090-8774d2cb2fc7" providerId="ADAL" clId="{54926CF3-3208-4A10-A774-EE56EFD8D191}" dt="2025-05-05T14:13:46.382" v="756" actId="1076"/>
          <ac:spMkLst>
            <pc:docMk/>
            <pc:sldMk cId="2833602957" sldId="2147483609"/>
            <ac:spMk id="6" creationId="{B2A8749B-6FE9-30E0-0F33-386706B8CDFB}"/>
          </ac:spMkLst>
        </pc:spChg>
        <pc:spChg chg="mod">
          <ac:chgData name="D'Erasmo Marco (EGP&amp;TGX BD)" userId="e38e4b5b-515e-40be-9090-8774d2cb2fc7" providerId="ADAL" clId="{54926CF3-3208-4A10-A774-EE56EFD8D191}" dt="2025-05-05T13:29:12.610" v="237" actId="20577"/>
          <ac:spMkLst>
            <pc:docMk/>
            <pc:sldMk cId="2833602957" sldId="2147483609"/>
            <ac:spMk id="7" creationId="{FF28927D-BDE4-88EF-423A-DA00286E9A41}"/>
          </ac:spMkLst>
        </pc:spChg>
        <pc:spChg chg="add mod">
          <ac:chgData name="D'Erasmo Marco (EGP&amp;TGX BD)" userId="e38e4b5b-515e-40be-9090-8774d2cb2fc7" providerId="ADAL" clId="{54926CF3-3208-4A10-A774-EE56EFD8D191}" dt="2025-05-05T14:13:50.654" v="758" actId="1076"/>
          <ac:spMkLst>
            <pc:docMk/>
            <pc:sldMk cId="2833602957" sldId="2147483609"/>
            <ac:spMk id="8" creationId="{DE8A9F57-81C1-8225-2D6F-1A28CB806248}"/>
          </ac:spMkLst>
        </pc:spChg>
        <pc:spChg chg="add mod">
          <ac:chgData name="D'Erasmo Marco (EGP&amp;TGX BD)" userId="e38e4b5b-515e-40be-9090-8774d2cb2fc7" providerId="ADAL" clId="{54926CF3-3208-4A10-A774-EE56EFD8D191}" dt="2025-05-05T14:13:54.112" v="760" actId="1076"/>
          <ac:spMkLst>
            <pc:docMk/>
            <pc:sldMk cId="2833602957" sldId="2147483609"/>
            <ac:spMk id="9" creationId="{25BE8AC4-3565-6B5A-C2ED-2064D942EC63}"/>
          </ac:spMkLst>
        </pc:spChg>
        <pc:spChg chg="add mod">
          <ac:chgData name="D'Erasmo Marco (EGP&amp;TGX BD)" userId="e38e4b5b-515e-40be-9090-8774d2cb2fc7" providerId="ADAL" clId="{54926CF3-3208-4A10-A774-EE56EFD8D191}" dt="2025-05-05T14:13:57.222" v="762" actId="1076"/>
          <ac:spMkLst>
            <pc:docMk/>
            <pc:sldMk cId="2833602957" sldId="2147483609"/>
            <ac:spMk id="14" creationId="{D3E73538-3845-1734-B34F-CEB24E4C2922}"/>
          </ac:spMkLst>
        </pc:spChg>
        <pc:spChg chg="add mod">
          <ac:chgData name="D'Erasmo Marco (EGP&amp;TGX BD)" userId="e38e4b5b-515e-40be-9090-8774d2cb2fc7" providerId="ADAL" clId="{54926CF3-3208-4A10-A774-EE56EFD8D191}" dt="2025-05-05T14:14:00.863" v="764" actId="1076"/>
          <ac:spMkLst>
            <pc:docMk/>
            <pc:sldMk cId="2833602957" sldId="2147483609"/>
            <ac:spMk id="15" creationId="{1B48D012-B996-A962-55C6-CBE6E33908F4}"/>
          </ac:spMkLst>
        </pc:spChg>
        <pc:spChg chg="add mod">
          <ac:chgData name="D'Erasmo Marco (EGP&amp;TGX BD)" userId="e38e4b5b-515e-40be-9090-8774d2cb2fc7" providerId="ADAL" clId="{54926CF3-3208-4A10-A774-EE56EFD8D191}" dt="2025-05-05T14:14:04.062" v="766" actId="1076"/>
          <ac:spMkLst>
            <pc:docMk/>
            <pc:sldMk cId="2833602957" sldId="2147483609"/>
            <ac:spMk id="16" creationId="{53A01F04-9D46-283B-0D04-6BA885E3B03D}"/>
          </ac:spMkLst>
        </pc:spChg>
        <pc:spChg chg="mod">
          <ac:chgData name="D'Erasmo Marco (EGP&amp;TGX BD)" userId="e38e4b5b-515e-40be-9090-8774d2cb2fc7" providerId="ADAL" clId="{54926CF3-3208-4A10-A774-EE56EFD8D191}" dt="2025-05-05T13:43:35.561" v="537" actId="20577"/>
          <ac:spMkLst>
            <pc:docMk/>
            <pc:sldMk cId="2833602957" sldId="2147483609"/>
            <ac:spMk id="26" creationId="{787327D0-41DD-661E-364A-CB32A444F330}"/>
          </ac:spMkLst>
        </pc:spChg>
        <pc:grpChg chg="del">
          <ac:chgData name="D'Erasmo Marco (EGP&amp;TGX BD)" userId="e38e4b5b-515e-40be-9090-8774d2cb2fc7" providerId="ADAL" clId="{54926CF3-3208-4A10-A774-EE56EFD8D191}" dt="2025-05-05T13:26:20.298" v="158" actId="478"/>
          <ac:grpSpMkLst>
            <pc:docMk/>
            <pc:sldMk cId="2833602957" sldId="2147483609"/>
            <ac:grpSpMk id="10" creationId="{8F188705-CBE4-3016-F1DC-2FAE8BD05ACE}"/>
          </ac:grpSpMkLst>
        </pc:grpChg>
      </pc:sldChg>
      <pc:sldChg chg="addSp delSp modSp add mod">
        <pc:chgData name="D'Erasmo Marco (EGP&amp;TGX BD)" userId="e38e4b5b-515e-40be-9090-8774d2cb2fc7" providerId="ADAL" clId="{54926CF3-3208-4A10-A774-EE56EFD8D191}" dt="2025-05-05T14:13:27.879" v="754" actId="20577"/>
        <pc:sldMkLst>
          <pc:docMk/>
          <pc:sldMk cId="3138768729" sldId="2147483610"/>
        </pc:sldMkLst>
        <pc:spChg chg="del">
          <ac:chgData name="D'Erasmo Marco (EGP&amp;TGX BD)" userId="e38e4b5b-515e-40be-9090-8774d2cb2fc7" providerId="ADAL" clId="{54926CF3-3208-4A10-A774-EE56EFD8D191}" dt="2025-05-05T13:20:35.534" v="29" actId="478"/>
          <ac:spMkLst>
            <pc:docMk/>
            <pc:sldMk cId="3138768729" sldId="2147483610"/>
            <ac:spMk id="2" creationId="{A54DE487-3CC3-EF95-EF7D-98B377B898C1}"/>
          </ac:spMkLst>
        </pc:spChg>
        <pc:spChg chg="mod">
          <ac:chgData name="D'Erasmo Marco (EGP&amp;TGX BD)" userId="e38e4b5b-515e-40be-9090-8774d2cb2fc7" providerId="ADAL" clId="{54926CF3-3208-4A10-A774-EE56EFD8D191}" dt="2025-05-05T13:20:29.035" v="28" actId="20577"/>
          <ac:spMkLst>
            <pc:docMk/>
            <pc:sldMk cId="3138768729" sldId="2147483610"/>
            <ac:spMk id="3" creationId="{49C29C96-6C71-2975-962E-80982F28A89E}"/>
          </ac:spMkLst>
        </pc:spChg>
        <pc:spChg chg="del">
          <ac:chgData name="D'Erasmo Marco (EGP&amp;TGX BD)" userId="e38e4b5b-515e-40be-9090-8774d2cb2fc7" providerId="ADAL" clId="{54926CF3-3208-4A10-A774-EE56EFD8D191}" dt="2025-05-05T13:20:08.068" v="8" actId="478"/>
          <ac:spMkLst>
            <pc:docMk/>
            <pc:sldMk cId="3138768729" sldId="2147483610"/>
            <ac:spMk id="4" creationId="{C1BB303E-12F4-539B-7A92-BEA9DB958AE4}"/>
          </ac:spMkLst>
        </pc:spChg>
        <pc:spChg chg="add mod">
          <ac:chgData name="D'Erasmo Marco (EGP&amp;TGX BD)" userId="e38e4b5b-515e-40be-9090-8774d2cb2fc7" providerId="ADAL" clId="{54926CF3-3208-4A10-A774-EE56EFD8D191}" dt="2025-05-05T13:29:31.835" v="243" actId="20577"/>
          <ac:spMkLst>
            <pc:docMk/>
            <pc:sldMk cId="3138768729" sldId="2147483610"/>
            <ac:spMk id="5" creationId="{985D77E0-D775-40FF-034B-8803EE755C62}"/>
          </ac:spMkLst>
        </pc:spChg>
        <pc:spChg chg="mod">
          <ac:chgData name="D'Erasmo Marco (EGP&amp;TGX BD)" userId="e38e4b5b-515e-40be-9090-8774d2cb2fc7" providerId="ADAL" clId="{54926CF3-3208-4A10-A774-EE56EFD8D191}" dt="2025-05-05T13:22:09.476" v="53"/>
          <ac:spMkLst>
            <pc:docMk/>
            <pc:sldMk cId="3138768729" sldId="2147483610"/>
            <ac:spMk id="8" creationId="{92B0D402-FC5B-769D-CBDC-5EA16C84781F}"/>
          </ac:spMkLst>
        </pc:spChg>
        <pc:spChg chg="mod">
          <ac:chgData name="D'Erasmo Marco (EGP&amp;TGX BD)" userId="e38e4b5b-515e-40be-9090-8774d2cb2fc7" providerId="ADAL" clId="{54926CF3-3208-4A10-A774-EE56EFD8D191}" dt="2025-05-05T13:22:09.476" v="53"/>
          <ac:spMkLst>
            <pc:docMk/>
            <pc:sldMk cId="3138768729" sldId="2147483610"/>
            <ac:spMk id="10" creationId="{145BDAE2-3630-742E-99CB-235BEFAAB44B}"/>
          </ac:spMkLst>
        </pc:spChg>
        <pc:spChg chg="mod">
          <ac:chgData name="D'Erasmo Marco (EGP&amp;TGX BD)" userId="e38e4b5b-515e-40be-9090-8774d2cb2fc7" providerId="ADAL" clId="{54926CF3-3208-4A10-A774-EE56EFD8D191}" dt="2025-05-05T13:22:09.476" v="53"/>
          <ac:spMkLst>
            <pc:docMk/>
            <pc:sldMk cId="3138768729" sldId="2147483610"/>
            <ac:spMk id="11" creationId="{3F371CDC-DA55-59AA-0485-3BCC0E9F3301}"/>
          </ac:spMkLst>
        </pc:spChg>
        <pc:spChg chg="mod">
          <ac:chgData name="D'Erasmo Marco (EGP&amp;TGX BD)" userId="e38e4b5b-515e-40be-9090-8774d2cb2fc7" providerId="ADAL" clId="{54926CF3-3208-4A10-A774-EE56EFD8D191}" dt="2025-05-05T14:13:27.879" v="754" actId="20577"/>
          <ac:spMkLst>
            <pc:docMk/>
            <pc:sldMk cId="3138768729" sldId="2147483610"/>
            <ac:spMk id="13" creationId="{1EC93096-35FB-2A59-2EEF-F7604732FFAD}"/>
          </ac:spMkLst>
        </pc:spChg>
        <pc:spChg chg="mod">
          <ac:chgData name="D'Erasmo Marco (EGP&amp;TGX BD)" userId="e38e4b5b-515e-40be-9090-8774d2cb2fc7" providerId="ADAL" clId="{54926CF3-3208-4A10-A774-EE56EFD8D191}" dt="2025-05-05T13:22:09.476" v="53"/>
          <ac:spMkLst>
            <pc:docMk/>
            <pc:sldMk cId="3138768729" sldId="2147483610"/>
            <ac:spMk id="15" creationId="{966093F6-04B1-4C72-D7CA-B8FEDC1DFB4D}"/>
          </ac:spMkLst>
        </pc:spChg>
        <pc:spChg chg="mod">
          <ac:chgData name="D'Erasmo Marco (EGP&amp;TGX BD)" userId="e38e4b5b-515e-40be-9090-8774d2cb2fc7" providerId="ADAL" clId="{54926CF3-3208-4A10-A774-EE56EFD8D191}" dt="2025-05-05T13:22:34.307" v="79" actId="1076"/>
          <ac:spMkLst>
            <pc:docMk/>
            <pc:sldMk cId="3138768729" sldId="2147483610"/>
            <ac:spMk id="17" creationId="{013759F2-0AB2-7D86-2C01-E9A1BE850651}"/>
          </ac:spMkLst>
        </pc:spChg>
        <pc:spChg chg="mod">
          <ac:chgData name="D'Erasmo Marco (EGP&amp;TGX BD)" userId="e38e4b5b-515e-40be-9090-8774d2cb2fc7" providerId="ADAL" clId="{54926CF3-3208-4A10-A774-EE56EFD8D191}" dt="2025-05-05T13:22:09.476" v="53"/>
          <ac:spMkLst>
            <pc:docMk/>
            <pc:sldMk cId="3138768729" sldId="2147483610"/>
            <ac:spMk id="19" creationId="{33FA95A6-BB9B-6232-5B16-AFED2314CEBA}"/>
          </ac:spMkLst>
        </pc:spChg>
        <pc:spChg chg="mod">
          <ac:chgData name="D'Erasmo Marco (EGP&amp;TGX BD)" userId="e38e4b5b-515e-40be-9090-8774d2cb2fc7" providerId="ADAL" clId="{54926CF3-3208-4A10-A774-EE56EFD8D191}" dt="2025-05-05T13:22:09.476" v="53"/>
          <ac:spMkLst>
            <pc:docMk/>
            <pc:sldMk cId="3138768729" sldId="2147483610"/>
            <ac:spMk id="20" creationId="{1431A132-B779-F8C4-9950-289F3087243B}"/>
          </ac:spMkLst>
        </pc:spChg>
        <pc:spChg chg="mod">
          <ac:chgData name="D'Erasmo Marco (EGP&amp;TGX BD)" userId="e38e4b5b-515e-40be-9090-8774d2cb2fc7" providerId="ADAL" clId="{54926CF3-3208-4A10-A774-EE56EFD8D191}" dt="2025-05-05T13:22:57.157" v="83" actId="20577"/>
          <ac:spMkLst>
            <pc:docMk/>
            <pc:sldMk cId="3138768729" sldId="2147483610"/>
            <ac:spMk id="23" creationId="{4BB051E1-8F00-9F29-F184-F73A832F17A1}"/>
          </ac:spMkLst>
        </pc:spChg>
        <pc:spChg chg="mod">
          <ac:chgData name="D'Erasmo Marco (EGP&amp;TGX BD)" userId="e38e4b5b-515e-40be-9090-8774d2cb2fc7" providerId="ADAL" clId="{54926CF3-3208-4A10-A774-EE56EFD8D191}" dt="2025-05-05T13:23:30.674" v="96" actId="1037"/>
          <ac:spMkLst>
            <pc:docMk/>
            <pc:sldMk cId="3138768729" sldId="2147483610"/>
            <ac:spMk id="37" creationId="{C18DA98F-FBDA-734C-8996-5E3E82A46913}"/>
          </ac:spMkLst>
        </pc:spChg>
        <pc:spChg chg="mod">
          <ac:chgData name="D'Erasmo Marco (EGP&amp;TGX BD)" userId="e38e4b5b-515e-40be-9090-8774d2cb2fc7" providerId="ADAL" clId="{54926CF3-3208-4A10-A774-EE56EFD8D191}" dt="2025-05-05T13:22:09.476" v="53"/>
          <ac:spMkLst>
            <pc:docMk/>
            <pc:sldMk cId="3138768729" sldId="2147483610"/>
            <ac:spMk id="41" creationId="{16E95E39-D0B3-2A43-7EAF-1435096A647C}"/>
          </ac:spMkLst>
        </pc:spChg>
        <pc:spChg chg="mod">
          <ac:chgData name="D'Erasmo Marco (EGP&amp;TGX BD)" userId="e38e4b5b-515e-40be-9090-8774d2cb2fc7" providerId="ADAL" clId="{54926CF3-3208-4A10-A774-EE56EFD8D191}" dt="2025-05-05T13:22:09.476" v="53"/>
          <ac:spMkLst>
            <pc:docMk/>
            <pc:sldMk cId="3138768729" sldId="2147483610"/>
            <ac:spMk id="45" creationId="{66C0357E-DBF2-1F6F-07E1-F51085CE62F9}"/>
          </ac:spMkLst>
        </pc:spChg>
        <pc:spChg chg="mod">
          <ac:chgData name="D'Erasmo Marco (EGP&amp;TGX BD)" userId="e38e4b5b-515e-40be-9090-8774d2cb2fc7" providerId="ADAL" clId="{54926CF3-3208-4A10-A774-EE56EFD8D191}" dt="2025-05-05T13:22:09.476" v="53"/>
          <ac:spMkLst>
            <pc:docMk/>
            <pc:sldMk cId="3138768729" sldId="2147483610"/>
            <ac:spMk id="46" creationId="{07085BE0-0CE1-C29D-CD0D-F4CFA22E3338}"/>
          </ac:spMkLst>
        </pc:spChg>
        <pc:spChg chg="mod">
          <ac:chgData name="D'Erasmo Marco (EGP&amp;TGX BD)" userId="e38e4b5b-515e-40be-9090-8774d2cb2fc7" providerId="ADAL" clId="{54926CF3-3208-4A10-A774-EE56EFD8D191}" dt="2025-05-05T13:22:09.476" v="53"/>
          <ac:spMkLst>
            <pc:docMk/>
            <pc:sldMk cId="3138768729" sldId="2147483610"/>
            <ac:spMk id="49" creationId="{33EC9322-8360-CC0F-D96A-4ED000C5E13C}"/>
          </ac:spMkLst>
        </pc:spChg>
        <pc:spChg chg="add mod">
          <ac:chgData name="D'Erasmo Marco (EGP&amp;TGX BD)" userId="e38e4b5b-515e-40be-9090-8774d2cb2fc7" providerId="ADAL" clId="{54926CF3-3208-4A10-A774-EE56EFD8D191}" dt="2025-05-05T13:23:25.594" v="88" actId="1076"/>
          <ac:spMkLst>
            <pc:docMk/>
            <pc:sldMk cId="3138768729" sldId="2147483610"/>
            <ac:spMk id="50" creationId="{5B35234C-D8E9-81B6-93C4-12CA38288FE7}"/>
          </ac:spMkLst>
        </pc:spChg>
        <pc:grpChg chg="mod">
          <ac:chgData name="D'Erasmo Marco (EGP&amp;TGX BD)" userId="e38e4b5b-515e-40be-9090-8774d2cb2fc7" providerId="ADAL" clId="{54926CF3-3208-4A10-A774-EE56EFD8D191}" dt="2025-05-05T13:22:11.130" v="54" actId="1076"/>
          <ac:grpSpMkLst>
            <pc:docMk/>
            <pc:sldMk cId="3138768729" sldId="2147483610"/>
            <ac:grpSpMk id="6" creationId="{A9149F5B-8989-90A6-C0B2-CEAE7CC3AB94}"/>
          </ac:grpSpMkLst>
        </pc:grpChg>
      </pc:sldChg>
      <pc:sldMasterChg chg="delSldLayout">
        <pc:chgData name="D'Erasmo Marco (EGP&amp;TGX BD)" userId="e38e4b5b-515e-40be-9090-8774d2cb2fc7" providerId="ADAL" clId="{54926CF3-3208-4A10-A774-EE56EFD8D191}" dt="2025-05-05T13:23:05.988" v="84" actId="47"/>
        <pc:sldMasterMkLst>
          <pc:docMk/>
          <pc:sldMasterMk cId="2426084950" sldId="2147483660"/>
        </pc:sldMasterMkLst>
        <pc:sldLayoutChg chg="del">
          <pc:chgData name="D'Erasmo Marco (EGP&amp;TGX BD)" userId="e38e4b5b-515e-40be-9090-8774d2cb2fc7" providerId="ADAL" clId="{54926CF3-3208-4A10-A774-EE56EFD8D191}" dt="2025-05-05T13:23:05.988" v="84" actId="47"/>
          <pc:sldLayoutMkLst>
            <pc:docMk/>
            <pc:sldMasterMk cId="2426084950" sldId="2147483660"/>
            <pc:sldLayoutMk cId="3173958435" sldId="2147483684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6885708508540064E-2"/>
          <c:y val="4.0372874101489223E-2"/>
          <c:w val="0.94311426100436979"/>
          <c:h val="0.5868865573950647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oglio1!$A$2</c:f>
              <c:strCache>
                <c:ptCount val="1"/>
                <c:pt idx="0">
                  <c:v>% su Sup Itali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B27-478F-924B-9D053D8CF5E1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B27-478F-924B-9D053D8CF5E1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B27-478F-924B-9D053D8CF5E1}"/>
              </c:ext>
            </c:extLst>
          </c:dPt>
          <c:dPt>
            <c:idx val="3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EB27-478F-924B-9D053D8CF5E1}"/>
              </c:ext>
            </c:extLst>
          </c:dPt>
          <c:dPt>
            <c:idx val="6"/>
            <c:invertIfNegative val="0"/>
            <c:bubble3D val="0"/>
            <c:spPr>
              <a:solidFill>
                <a:srgbClr val="40B9E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9D37-4BF8-8E80-03DC52629AB6}"/>
              </c:ext>
            </c:extLst>
          </c:dPt>
          <c:dLbls>
            <c:dLbl>
              <c:idx val="1"/>
              <c:layout>
                <c:manualLayout>
                  <c:x val="-2.8993752417097274E-3"/>
                  <c:y val="1.1076737368812617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,3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EB27-478F-924B-9D053D8CF5E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~0,30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EB27-478F-924B-9D053D8CF5E1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B$1:$J$1</c:f>
              <c:strCache>
                <c:ptCount val="9"/>
                <c:pt idx="0">
                  <c:v>Strade</c:v>
                </c:pt>
                <c:pt idx="1">
                  <c:v>Edifici</c:v>
                </c:pt>
                <c:pt idx="2">
                  <c:v>Piazzali / Parcheggi</c:v>
                </c:pt>
                <c:pt idx="3">
                  <c:v>Capacità addizionale RES al 2030</c:v>
                </c:pt>
                <c:pt idx="4">
                  <c:v>Serre</c:v>
                </c:pt>
                <c:pt idx="5">
                  <c:v>Aree Sport</c:v>
                </c:pt>
                <c:pt idx="6">
                  <c:v>Ferrovia</c:v>
                </c:pt>
                <c:pt idx="7">
                  <c:v>Porti/Aeroporti</c:v>
                </c:pt>
                <c:pt idx="8">
                  <c:v>Altro</c:v>
                </c:pt>
              </c:strCache>
            </c:strRef>
          </c:cat>
          <c:val>
            <c:numRef>
              <c:f>Foglio1!$B$2:$J$2</c:f>
              <c:numCache>
                <c:formatCode>0.00%</c:formatCode>
                <c:ptCount val="9"/>
                <c:pt idx="0">
                  <c:v>3.0539041887225938E-2</c:v>
                </c:pt>
                <c:pt idx="1">
                  <c:v>2.2904281415419454E-2</c:v>
                </c:pt>
                <c:pt idx="2">
                  <c:v>1.0001536218066496E-2</c:v>
                </c:pt>
                <c:pt idx="3">
                  <c:v>3.0000000000000001E-3</c:v>
                </c:pt>
                <c:pt idx="4">
                  <c:v>1.526952094361297E-3</c:v>
                </c:pt>
                <c:pt idx="5">
                  <c:v>1.0688664660529078E-3</c:v>
                </c:pt>
                <c:pt idx="6">
                  <c:v>6.8712844246258378E-4</c:v>
                </c:pt>
                <c:pt idx="7">
                  <c:v>3.0539041887225936E-4</c:v>
                </c:pt>
                <c:pt idx="8">
                  <c:v>6.031460772727123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B27-478F-924B-9D053D8CF5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0687688"/>
        <c:axId val="200688080"/>
      </c:barChart>
      <c:catAx>
        <c:axId val="2006876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200688080"/>
        <c:crosses val="autoZero"/>
        <c:auto val="1"/>
        <c:lblAlgn val="ctr"/>
        <c:lblOffset val="100"/>
        <c:noMultiLvlLbl val="0"/>
      </c:catAx>
      <c:valAx>
        <c:axId val="200688080"/>
        <c:scaling>
          <c:orientation val="minMax"/>
        </c:scaling>
        <c:delete val="1"/>
        <c:axPos val="l"/>
        <c:numFmt formatCode="0.00%" sourceLinked="1"/>
        <c:majorTickMark val="out"/>
        <c:minorTickMark val="none"/>
        <c:tickLblPos val="nextTo"/>
        <c:crossAx val="2006876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it-I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A3DAFE-D167-482C-B2AA-E52709791209}" type="datetimeFigureOut">
              <a:rPr lang="it-IT" smtClean="0"/>
              <a:t>05/05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C0315D-7DE8-4EFF-A194-0F3516F2A6A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494100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4B304-E99A-554B-A154-AA493B70D9F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21073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it-IT" baseline="0" dirty="0"/>
          </a:p>
          <a:p>
            <a:pPr marL="171450" indent="-171450">
              <a:buFontTx/>
              <a:buChar char="-"/>
            </a:pPr>
            <a:endParaRPr lang="it-IT" baseline="0" dirty="0"/>
          </a:p>
          <a:p>
            <a:pPr marL="171450" indent="-171450">
              <a:buFontTx/>
              <a:buChar char="-"/>
            </a:pPr>
            <a:endParaRPr lang="it-IT" dirty="0"/>
          </a:p>
          <a:p>
            <a:pPr marL="171450" indent="-171450">
              <a:buFontTx/>
              <a:buChar char="-"/>
            </a:pPr>
            <a:endParaRPr lang="it-IT" baseline="0" dirty="0"/>
          </a:p>
          <a:p>
            <a:pPr marL="171450" indent="-171450">
              <a:buFontTx/>
              <a:buChar char="-"/>
            </a:pPr>
            <a:endParaRPr lang="it-IT" dirty="0"/>
          </a:p>
          <a:p>
            <a:pPr marL="171450" indent="-171450">
              <a:buFontTx/>
              <a:buChar char="-"/>
            </a:pPr>
            <a:endParaRPr lang="it-IT" dirty="0"/>
          </a:p>
          <a:p>
            <a:pPr marL="171450" indent="-171450">
              <a:buFontTx/>
              <a:buChar char="-"/>
            </a:pPr>
            <a:endParaRPr lang="it-IT" baseline="0" dirty="0"/>
          </a:p>
          <a:p>
            <a:pPr marL="171450" indent="-171450">
              <a:buFontTx/>
              <a:buChar char="-"/>
            </a:pP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03C922-1D25-488A-A4EA-33AA2C573DB3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obert ENEL" panose="00000500000000000000" pitchFamily="2" charset="0"/>
                <a:ea typeface="+mn-ea"/>
                <a:cs typeface="+mn-cs"/>
                <a:sym typeface="Roobert ENEL" panose="000005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obert ENEL" panose="00000500000000000000" pitchFamily="2" charset="0"/>
              <a:ea typeface="+mn-ea"/>
              <a:cs typeface="+mn-cs"/>
              <a:sym typeface="Roobert ENEL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22992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>
          <a:xfrm>
            <a:off x="1172179" y="2505356"/>
            <a:ext cx="12334930" cy="1520653"/>
          </a:xfrm>
        </p:spPr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A54B304-E99A-554B-A154-AA493B70D9FA}" type="slidenum">
              <a:rPr kumimoji="0" lang="it-IT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45 Light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it-IT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19655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03C922-1D25-488A-A4EA-33AA2C573DB3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1572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5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5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1" y="1723880"/>
            <a:ext cx="7616824" cy="1368425"/>
          </a:xfrm>
        </p:spPr>
        <p:txBody>
          <a:bodyPr anchor="t">
            <a:noAutofit/>
          </a:bodyPr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2826" y="3429010"/>
            <a:ext cx="6109388" cy="2769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867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67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5520" y="3429010"/>
            <a:ext cx="1510613" cy="276999"/>
          </a:xfrm>
          <a:prstGeom prst="rect">
            <a:avLst/>
          </a:prstGeom>
        </p:spPr>
        <p:txBody>
          <a:bodyPr lIns="68579" tIns="34289" rIns="68579" bIns="34289" anchor="t">
            <a:noAutofit/>
          </a:bodyPr>
          <a:lstStyle>
            <a:lvl1pPr>
              <a:lnSpc>
                <a:spcPct val="90000"/>
              </a:lnSpc>
              <a:defRPr sz="1867">
                <a:solidFill>
                  <a:schemeClr val="tx1"/>
                </a:solidFill>
              </a:defRPr>
            </a:lvl1pPr>
          </a:lstStyle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 rot="16200000">
            <a:off x="1615349" y="-157777"/>
            <a:ext cx="691603" cy="23982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9" tIns="45719" rIns="91439" bIns="45719" rtlCol="0" anchor="ctr"/>
          <a:lstStyle/>
          <a:p>
            <a:pPr algn="ctr"/>
            <a:endParaRPr lang="en-GB" sz="2400">
              <a:solidFill>
                <a:prstClr val="black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497963" y="5483501"/>
            <a:ext cx="1932039" cy="963659"/>
          </a:xfrm>
          <a:prstGeom prst="rect">
            <a:avLst/>
          </a:prstGeom>
          <a:noFill/>
        </p:spPr>
      </p:pic>
      <p:sp>
        <p:nvSpPr>
          <p:cNvPr id="8" name="Segnaposto numero diapositiva 2"/>
          <p:cNvSpPr>
            <a:spLocks noGrp="1"/>
          </p:cNvSpPr>
          <p:nvPr>
            <p:ph type="sldNum" sz="quarter" idx="11"/>
          </p:nvPr>
        </p:nvSpPr>
        <p:spPr>
          <a:xfrm>
            <a:off x="10664825" y="6264005"/>
            <a:ext cx="762000" cy="153888"/>
          </a:xfrm>
        </p:spPr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40729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623205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3" name="Ogget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ttangolo 9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8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1" y="1085369"/>
            <a:ext cx="8375651" cy="276999"/>
          </a:xfrm>
        </p:spPr>
        <p:txBody>
          <a:bodyPr rIns="0">
            <a:noAutofit/>
          </a:bodyPr>
          <a:lstStyle>
            <a:lvl1pPr>
              <a:defRPr sz="1867"/>
            </a:lvl1pPr>
          </a:lstStyle>
          <a:p>
            <a:pPr lvl="0"/>
            <a:r>
              <a:rPr lang="en-GB"/>
              <a:t>Click to edit Master subtitle style if require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60633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92556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2" name="Ogget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egnaposto numero diapositiva 2"/>
          <p:cNvSpPr>
            <a:spLocks noGrp="1"/>
          </p:cNvSpPr>
          <p:nvPr>
            <p:ph type="sldNum" sz="quarter" idx="10"/>
          </p:nvPr>
        </p:nvSpPr>
        <p:spPr>
          <a:xfrm>
            <a:off x="10664825" y="6264005"/>
            <a:ext cx="762000" cy="153888"/>
          </a:xfrm>
        </p:spPr>
        <p:txBody>
          <a:bodyPr/>
          <a:lstStyle/>
          <a:p>
            <a:pPr>
              <a:defRPr/>
            </a:pPr>
            <a:fld id="{75F870F5-A8EE-406C-AA57-200223E45060}" type="slidenum">
              <a:rPr lang="it-IT" smtClean="0">
                <a:solidFill>
                  <a:srgbClr val="C6C6C6">
                    <a:lumMod val="75000"/>
                  </a:srgbClr>
                </a:solidFill>
              </a:rPr>
              <a:pPr>
                <a:defRPr/>
              </a:pPr>
              <a:t>‹N›</a:t>
            </a:fld>
            <a:endParaRPr lang="it-IT">
              <a:solidFill>
                <a:srgbClr val="C6C6C6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40324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5F870F5-A8EE-406C-AA57-200223E45060}" type="slidenum">
              <a:rPr lang="it-IT" smtClean="0">
                <a:solidFill>
                  <a:srgbClr val="C6C6C6">
                    <a:lumMod val="75000"/>
                  </a:srgbClr>
                </a:solidFill>
              </a:rPr>
              <a:pPr>
                <a:defRPr/>
              </a:pPr>
              <a:t>‹N›</a:t>
            </a:fld>
            <a:endParaRPr lang="it-IT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62001" y="670122"/>
            <a:ext cx="8375651" cy="394980"/>
          </a:xfrm>
        </p:spPr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1" y="1085369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/>
              <a:t>Click to edit Master subtitle style if require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8294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64825" y="6264005"/>
            <a:ext cx="762000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prstClr val="white"/>
                </a:solidFill>
              </a:rPr>
              <a:pPr/>
              <a:t>‹N›</a:t>
            </a:fld>
            <a:endParaRPr lang="en-GB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83204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 3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772211" y="6264005"/>
            <a:ext cx="151061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9F7EC0-C596-4370-99D1-5BED18B7595B}" type="datetime1">
              <a:rPr lang="en-GB" smtClean="0">
                <a:solidFill>
                  <a:prstClr val="white"/>
                </a:solidFill>
              </a:rPr>
              <a:pPr/>
              <a:t>05/05/2025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282827" y="6264005"/>
            <a:ext cx="8381999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64825" y="6264005"/>
            <a:ext cx="762000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prstClr val="white"/>
                </a:solidFill>
              </a:rPr>
              <a:pPr/>
              <a:t>‹N›</a:t>
            </a:fld>
            <a:endParaRPr lang="en-GB">
              <a:solidFill>
                <a:prstClr val="white"/>
              </a:solidFill>
            </a:endParaRPr>
          </a:p>
        </p:txBody>
      </p:sp>
      <p:grpSp>
        <p:nvGrpSpPr>
          <p:cNvPr id="2" name="Group 5"/>
          <p:cNvGrpSpPr>
            <a:grpSpLocks noChangeAspect="1"/>
          </p:cNvGrpSpPr>
          <p:nvPr userDrawn="1"/>
        </p:nvGrpSpPr>
        <p:grpSpPr bwMode="auto">
          <a:xfrm>
            <a:off x="10098874" y="687826"/>
            <a:ext cx="1328820" cy="665841"/>
            <a:chOff x="-3449" y="-1785"/>
            <a:chExt cx="6959" cy="3487"/>
          </a:xfrm>
          <a:solidFill>
            <a:schemeClr val="bg1"/>
          </a:solidFill>
        </p:grpSpPr>
        <p:sp>
          <p:nvSpPr>
            <p:cNvPr id="20" name="Freeform 6"/>
            <p:cNvSpPr>
              <a:spLocks/>
            </p:cNvSpPr>
            <p:nvPr userDrawn="1"/>
          </p:nvSpPr>
          <p:spPr bwMode="auto">
            <a:xfrm>
              <a:off x="-12" y="1270"/>
              <a:ext cx="319" cy="432"/>
            </a:xfrm>
            <a:custGeom>
              <a:avLst/>
              <a:gdLst/>
              <a:ahLst/>
              <a:cxnLst>
                <a:cxn ang="0">
                  <a:pos x="45" y="30"/>
                </a:cxn>
                <a:cxn ang="0">
                  <a:pos x="45" y="57"/>
                </a:cxn>
                <a:cxn ang="0">
                  <a:pos x="25" y="61"/>
                </a:cxn>
                <a:cxn ang="0">
                  <a:pos x="0" y="30"/>
                </a:cxn>
                <a:cxn ang="0">
                  <a:pos x="25" y="0"/>
                </a:cxn>
                <a:cxn ang="0">
                  <a:pos x="45" y="16"/>
                </a:cxn>
                <a:cxn ang="0">
                  <a:pos x="39" y="16"/>
                </a:cxn>
                <a:cxn ang="0">
                  <a:pos x="25" y="5"/>
                </a:cxn>
                <a:cxn ang="0">
                  <a:pos x="5" y="30"/>
                </a:cxn>
                <a:cxn ang="0">
                  <a:pos x="27" y="56"/>
                </a:cxn>
                <a:cxn ang="0">
                  <a:pos x="40" y="53"/>
                </a:cxn>
                <a:cxn ang="0">
                  <a:pos x="40" y="35"/>
                </a:cxn>
                <a:cxn ang="0">
                  <a:pos x="26" y="35"/>
                </a:cxn>
                <a:cxn ang="0">
                  <a:pos x="26" y="30"/>
                </a:cxn>
                <a:cxn ang="0">
                  <a:pos x="45" y="30"/>
                </a:cxn>
              </a:cxnLst>
              <a:rect l="0" t="0" r="r" b="b"/>
              <a:pathLst>
                <a:path w="45" h="61">
                  <a:moveTo>
                    <a:pt x="45" y="30"/>
                  </a:moveTo>
                  <a:cubicBezTo>
                    <a:pt x="45" y="57"/>
                    <a:pt x="45" y="57"/>
                    <a:pt x="45" y="57"/>
                  </a:cubicBezTo>
                  <a:cubicBezTo>
                    <a:pt x="38" y="60"/>
                    <a:pt x="32" y="61"/>
                    <a:pt x="25" y="61"/>
                  </a:cubicBezTo>
                  <a:cubicBezTo>
                    <a:pt x="9" y="61"/>
                    <a:pt x="0" y="48"/>
                    <a:pt x="0" y="30"/>
                  </a:cubicBezTo>
                  <a:cubicBezTo>
                    <a:pt x="0" y="15"/>
                    <a:pt x="8" y="0"/>
                    <a:pt x="25" y="0"/>
                  </a:cubicBezTo>
                  <a:cubicBezTo>
                    <a:pt x="34" y="0"/>
                    <a:pt x="44" y="5"/>
                    <a:pt x="45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8"/>
                    <a:pt x="32" y="5"/>
                    <a:pt x="25" y="5"/>
                  </a:cubicBezTo>
                  <a:cubicBezTo>
                    <a:pt x="11" y="5"/>
                    <a:pt x="5" y="18"/>
                    <a:pt x="5" y="30"/>
                  </a:cubicBezTo>
                  <a:cubicBezTo>
                    <a:pt x="5" y="45"/>
                    <a:pt x="12" y="56"/>
                    <a:pt x="27" y="56"/>
                  </a:cubicBezTo>
                  <a:cubicBezTo>
                    <a:pt x="32" y="56"/>
                    <a:pt x="36" y="55"/>
                    <a:pt x="40" y="53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0"/>
                    <a:pt x="26" y="30"/>
                    <a:pt x="26" y="30"/>
                  </a:cubicBezTo>
                  <a:lnTo>
                    <a:pt x="45" y="3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>
                <a:solidFill>
                  <a:prstClr val="black"/>
                </a:solidFill>
              </a:endParaRPr>
            </a:p>
          </p:txBody>
        </p:sp>
        <p:sp>
          <p:nvSpPr>
            <p:cNvPr id="21" name="Freeform 7"/>
            <p:cNvSpPr>
              <a:spLocks/>
            </p:cNvSpPr>
            <p:nvPr userDrawn="1"/>
          </p:nvSpPr>
          <p:spPr bwMode="auto">
            <a:xfrm>
              <a:off x="406" y="1397"/>
              <a:ext cx="135" cy="291"/>
            </a:xfrm>
            <a:custGeom>
              <a:avLst/>
              <a:gdLst/>
              <a:ahLst/>
              <a:cxnLst>
                <a:cxn ang="0">
                  <a:pos x="5" y="41"/>
                </a:cxn>
                <a:cxn ang="0">
                  <a:pos x="0" y="41"/>
                </a:cxn>
                <a:cxn ang="0">
                  <a:pos x="0" y="10"/>
                </a:cxn>
                <a:cxn ang="0">
                  <a:pos x="0" y="1"/>
                </a:cxn>
                <a:cxn ang="0">
                  <a:pos x="5" y="1"/>
                </a:cxn>
                <a:cxn ang="0">
                  <a:pos x="5" y="7"/>
                </a:cxn>
                <a:cxn ang="0">
                  <a:pos x="5" y="7"/>
                </a:cxn>
                <a:cxn ang="0">
                  <a:pos x="14" y="0"/>
                </a:cxn>
                <a:cxn ang="0">
                  <a:pos x="19" y="0"/>
                </a:cxn>
                <a:cxn ang="0">
                  <a:pos x="19" y="5"/>
                </a:cxn>
                <a:cxn ang="0">
                  <a:pos x="16" y="4"/>
                </a:cxn>
                <a:cxn ang="0">
                  <a:pos x="5" y="17"/>
                </a:cxn>
                <a:cxn ang="0">
                  <a:pos x="5" y="41"/>
                </a:cxn>
              </a:cxnLst>
              <a:rect l="0" t="0" r="r" b="b"/>
              <a:pathLst>
                <a:path w="19" h="41">
                  <a:moveTo>
                    <a:pt x="5" y="41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7"/>
                    <a:pt x="0" y="4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7" y="3"/>
                    <a:pt x="10" y="0"/>
                    <a:pt x="14" y="0"/>
                  </a:cubicBezTo>
                  <a:cubicBezTo>
                    <a:pt x="16" y="0"/>
                    <a:pt x="18" y="0"/>
                    <a:pt x="19" y="0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7" y="4"/>
                    <a:pt x="16" y="4"/>
                  </a:cubicBezTo>
                  <a:cubicBezTo>
                    <a:pt x="9" y="4"/>
                    <a:pt x="5" y="9"/>
                    <a:pt x="5" y="17"/>
                  </a:cubicBezTo>
                  <a:lnTo>
                    <a:pt x="5" y="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>
                <a:solidFill>
                  <a:prstClr val="black"/>
                </a:solidFill>
              </a:endParaRPr>
            </a:p>
          </p:txBody>
        </p:sp>
        <p:sp>
          <p:nvSpPr>
            <p:cNvPr id="22" name="Freeform 8"/>
            <p:cNvSpPr>
              <a:spLocks noEditPoints="1"/>
            </p:cNvSpPr>
            <p:nvPr userDrawn="1"/>
          </p:nvSpPr>
          <p:spPr bwMode="auto">
            <a:xfrm>
              <a:off x="583" y="1397"/>
              <a:ext cx="255" cy="305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19" y="38"/>
                </a:cxn>
                <a:cxn ang="0">
                  <a:pos x="30" y="29"/>
                </a:cxn>
                <a:cxn ang="0">
                  <a:pos x="36" y="29"/>
                </a:cxn>
                <a:cxn ang="0">
                  <a:pos x="17" y="43"/>
                </a:cxn>
                <a:cxn ang="0">
                  <a:pos x="0" y="21"/>
                </a:cxn>
                <a:cxn ang="0">
                  <a:pos x="18" y="0"/>
                </a:cxn>
                <a:cxn ang="0">
                  <a:pos x="36" y="22"/>
                </a:cxn>
                <a:cxn ang="0">
                  <a:pos x="5" y="22"/>
                </a:cxn>
                <a:cxn ang="0">
                  <a:pos x="31" y="18"/>
                </a:cxn>
                <a:cxn ang="0">
                  <a:pos x="18" y="4"/>
                </a:cxn>
                <a:cxn ang="0">
                  <a:pos x="5" y="18"/>
                </a:cxn>
                <a:cxn ang="0">
                  <a:pos x="31" y="18"/>
                </a:cxn>
              </a:cxnLst>
              <a:rect l="0" t="0" r="r" b="b"/>
              <a:pathLst>
                <a:path w="36" h="43">
                  <a:moveTo>
                    <a:pt x="5" y="22"/>
                  </a:moveTo>
                  <a:cubicBezTo>
                    <a:pt x="5" y="31"/>
                    <a:pt x="9" y="38"/>
                    <a:pt x="19" y="38"/>
                  </a:cubicBezTo>
                  <a:cubicBezTo>
                    <a:pt x="25" y="38"/>
                    <a:pt x="29" y="34"/>
                    <a:pt x="30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3" y="38"/>
                    <a:pt x="27" y="43"/>
                    <a:pt x="17" y="43"/>
                  </a:cubicBezTo>
                  <a:cubicBezTo>
                    <a:pt x="5" y="43"/>
                    <a:pt x="0" y="32"/>
                    <a:pt x="0" y="21"/>
                  </a:cubicBezTo>
                  <a:cubicBezTo>
                    <a:pt x="0" y="10"/>
                    <a:pt x="6" y="0"/>
                    <a:pt x="18" y="0"/>
                  </a:cubicBezTo>
                  <a:cubicBezTo>
                    <a:pt x="31" y="0"/>
                    <a:pt x="36" y="10"/>
                    <a:pt x="36" y="22"/>
                  </a:cubicBezTo>
                  <a:lnTo>
                    <a:pt x="5" y="22"/>
                  </a:lnTo>
                  <a:close/>
                  <a:moveTo>
                    <a:pt x="31" y="18"/>
                  </a:moveTo>
                  <a:cubicBezTo>
                    <a:pt x="30" y="10"/>
                    <a:pt x="26" y="4"/>
                    <a:pt x="18" y="4"/>
                  </a:cubicBezTo>
                  <a:cubicBezTo>
                    <a:pt x="10" y="4"/>
                    <a:pt x="6" y="11"/>
                    <a:pt x="5" y="18"/>
                  </a:cubicBezTo>
                  <a:lnTo>
                    <a:pt x="31" y="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>
                <a:solidFill>
                  <a:prstClr val="black"/>
                </a:solidFill>
              </a:endParaRPr>
            </a:p>
          </p:txBody>
        </p:sp>
        <p:sp>
          <p:nvSpPr>
            <p:cNvPr id="23" name="Freeform 9"/>
            <p:cNvSpPr>
              <a:spLocks noEditPoints="1"/>
            </p:cNvSpPr>
            <p:nvPr userDrawn="1"/>
          </p:nvSpPr>
          <p:spPr bwMode="auto">
            <a:xfrm>
              <a:off x="895" y="1397"/>
              <a:ext cx="262" cy="305"/>
            </a:xfrm>
            <a:custGeom>
              <a:avLst/>
              <a:gdLst/>
              <a:ahLst/>
              <a:cxnLst>
                <a:cxn ang="0">
                  <a:pos x="6" y="22"/>
                </a:cxn>
                <a:cxn ang="0">
                  <a:pos x="20" y="38"/>
                </a:cxn>
                <a:cxn ang="0">
                  <a:pos x="31" y="29"/>
                </a:cxn>
                <a:cxn ang="0">
                  <a:pos x="36" y="29"/>
                </a:cxn>
                <a:cxn ang="0">
                  <a:pos x="18" y="43"/>
                </a:cxn>
                <a:cxn ang="0">
                  <a:pos x="0" y="21"/>
                </a:cxn>
                <a:cxn ang="0">
                  <a:pos x="18" y="0"/>
                </a:cxn>
                <a:cxn ang="0">
                  <a:pos x="37" y="22"/>
                </a:cxn>
                <a:cxn ang="0">
                  <a:pos x="6" y="22"/>
                </a:cxn>
                <a:cxn ang="0">
                  <a:pos x="32" y="18"/>
                </a:cxn>
                <a:cxn ang="0">
                  <a:pos x="18" y="4"/>
                </a:cxn>
                <a:cxn ang="0">
                  <a:pos x="6" y="18"/>
                </a:cxn>
                <a:cxn ang="0">
                  <a:pos x="32" y="18"/>
                </a:cxn>
              </a:cxnLst>
              <a:rect l="0" t="0" r="r" b="b"/>
              <a:pathLst>
                <a:path w="37" h="43">
                  <a:moveTo>
                    <a:pt x="6" y="22"/>
                  </a:moveTo>
                  <a:cubicBezTo>
                    <a:pt x="6" y="31"/>
                    <a:pt x="10" y="38"/>
                    <a:pt x="20" y="38"/>
                  </a:cubicBezTo>
                  <a:cubicBezTo>
                    <a:pt x="25" y="38"/>
                    <a:pt x="30" y="34"/>
                    <a:pt x="31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4" y="38"/>
                    <a:pt x="28" y="43"/>
                    <a:pt x="18" y="43"/>
                  </a:cubicBezTo>
                  <a:cubicBezTo>
                    <a:pt x="6" y="43"/>
                    <a:pt x="0" y="32"/>
                    <a:pt x="0" y="21"/>
                  </a:cubicBezTo>
                  <a:cubicBezTo>
                    <a:pt x="0" y="10"/>
                    <a:pt x="6" y="0"/>
                    <a:pt x="18" y="0"/>
                  </a:cubicBezTo>
                  <a:cubicBezTo>
                    <a:pt x="32" y="0"/>
                    <a:pt x="37" y="10"/>
                    <a:pt x="37" y="22"/>
                  </a:cubicBezTo>
                  <a:lnTo>
                    <a:pt x="6" y="22"/>
                  </a:lnTo>
                  <a:close/>
                  <a:moveTo>
                    <a:pt x="32" y="18"/>
                  </a:moveTo>
                  <a:cubicBezTo>
                    <a:pt x="31" y="10"/>
                    <a:pt x="27" y="4"/>
                    <a:pt x="18" y="4"/>
                  </a:cubicBezTo>
                  <a:cubicBezTo>
                    <a:pt x="11" y="4"/>
                    <a:pt x="6" y="11"/>
                    <a:pt x="6" y="18"/>
                  </a:cubicBezTo>
                  <a:lnTo>
                    <a:pt x="32" y="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>
                <a:solidFill>
                  <a:prstClr val="black"/>
                </a:solidFill>
              </a:endParaRPr>
            </a:p>
          </p:txBody>
        </p:sp>
        <p:sp>
          <p:nvSpPr>
            <p:cNvPr id="24" name="Freeform 10"/>
            <p:cNvSpPr>
              <a:spLocks/>
            </p:cNvSpPr>
            <p:nvPr userDrawn="1"/>
          </p:nvSpPr>
          <p:spPr bwMode="auto">
            <a:xfrm>
              <a:off x="1228" y="1397"/>
              <a:ext cx="227" cy="291"/>
            </a:xfrm>
            <a:custGeom>
              <a:avLst/>
              <a:gdLst/>
              <a:ahLst/>
              <a:cxnLst>
                <a:cxn ang="0">
                  <a:pos x="5" y="41"/>
                </a:cxn>
                <a:cxn ang="0">
                  <a:pos x="1" y="41"/>
                </a:cxn>
                <a:cxn ang="0">
                  <a:pos x="1" y="10"/>
                </a:cxn>
                <a:cxn ang="0">
                  <a:pos x="0" y="1"/>
                </a:cxn>
                <a:cxn ang="0">
                  <a:pos x="5" y="1"/>
                </a:cxn>
                <a:cxn ang="0">
                  <a:pos x="5" y="7"/>
                </a:cxn>
                <a:cxn ang="0">
                  <a:pos x="5" y="7"/>
                </a:cxn>
                <a:cxn ang="0">
                  <a:pos x="18" y="0"/>
                </a:cxn>
                <a:cxn ang="0">
                  <a:pos x="32" y="16"/>
                </a:cxn>
                <a:cxn ang="0">
                  <a:pos x="32" y="41"/>
                </a:cxn>
                <a:cxn ang="0">
                  <a:pos x="28" y="41"/>
                </a:cxn>
                <a:cxn ang="0">
                  <a:pos x="28" y="15"/>
                </a:cxn>
                <a:cxn ang="0">
                  <a:pos x="17" y="4"/>
                </a:cxn>
                <a:cxn ang="0">
                  <a:pos x="5" y="18"/>
                </a:cxn>
                <a:cxn ang="0">
                  <a:pos x="5" y="41"/>
                </a:cxn>
              </a:cxnLst>
              <a:rect l="0" t="0" r="r" b="b"/>
              <a:pathLst>
                <a:path w="32" h="41">
                  <a:moveTo>
                    <a:pt x="5" y="41"/>
                  </a:moveTo>
                  <a:cubicBezTo>
                    <a:pt x="1" y="41"/>
                    <a:pt x="1" y="41"/>
                    <a:pt x="1" y="41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7"/>
                    <a:pt x="0" y="4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8" y="2"/>
                    <a:pt x="13" y="0"/>
                    <a:pt x="18" y="0"/>
                  </a:cubicBezTo>
                  <a:cubicBezTo>
                    <a:pt x="31" y="0"/>
                    <a:pt x="32" y="12"/>
                    <a:pt x="32" y="16"/>
                  </a:cubicBezTo>
                  <a:cubicBezTo>
                    <a:pt x="32" y="41"/>
                    <a:pt x="32" y="41"/>
                    <a:pt x="32" y="4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8"/>
                    <a:pt x="24" y="4"/>
                    <a:pt x="17" y="4"/>
                  </a:cubicBezTo>
                  <a:cubicBezTo>
                    <a:pt x="9" y="4"/>
                    <a:pt x="5" y="11"/>
                    <a:pt x="5" y="18"/>
                  </a:cubicBezTo>
                  <a:lnTo>
                    <a:pt x="5" y="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>
                <a:solidFill>
                  <a:prstClr val="black"/>
                </a:solidFill>
              </a:endParaRPr>
            </a:p>
          </p:txBody>
        </p:sp>
        <p:sp>
          <p:nvSpPr>
            <p:cNvPr id="25" name="Freeform 11"/>
            <p:cNvSpPr>
              <a:spLocks noEditPoints="1"/>
            </p:cNvSpPr>
            <p:nvPr userDrawn="1"/>
          </p:nvSpPr>
          <p:spPr bwMode="auto">
            <a:xfrm>
              <a:off x="1717" y="1277"/>
              <a:ext cx="276" cy="411"/>
            </a:xfrm>
            <a:custGeom>
              <a:avLst/>
              <a:gdLst/>
              <a:ahLst/>
              <a:cxnLst>
                <a:cxn ang="0">
                  <a:pos x="0" y="58"/>
                </a:cxn>
                <a:cxn ang="0">
                  <a:pos x="0" y="0"/>
                </a:cxn>
                <a:cxn ang="0">
                  <a:pos x="15" y="0"/>
                </a:cxn>
                <a:cxn ang="0">
                  <a:pos x="39" y="17"/>
                </a:cxn>
                <a:cxn ang="0">
                  <a:pos x="15" y="33"/>
                </a:cxn>
                <a:cxn ang="0">
                  <a:pos x="5" y="33"/>
                </a:cxn>
                <a:cxn ang="0">
                  <a:pos x="5" y="58"/>
                </a:cxn>
                <a:cxn ang="0">
                  <a:pos x="0" y="58"/>
                </a:cxn>
                <a:cxn ang="0">
                  <a:pos x="5" y="28"/>
                </a:cxn>
                <a:cxn ang="0">
                  <a:pos x="18" y="28"/>
                </a:cxn>
                <a:cxn ang="0">
                  <a:pos x="33" y="17"/>
                </a:cxn>
                <a:cxn ang="0">
                  <a:pos x="18" y="5"/>
                </a:cxn>
                <a:cxn ang="0">
                  <a:pos x="5" y="5"/>
                </a:cxn>
                <a:cxn ang="0">
                  <a:pos x="5" y="28"/>
                </a:cxn>
              </a:cxnLst>
              <a:rect l="0" t="0" r="r" b="b"/>
              <a:pathLst>
                <a:path w="39" h="58">
                  <a:moveTo>
                    <a:pt x="0" y="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6" y="0"/>
                    <a:pt x="39" y="3"/>
                    <a:pt x="39" y="17"/>
                  </a:cubicBezTo>
                  <a:cubicBezTo>
                    <a:pt x="39" y="31"/>
                    <a:pt x="26" y="33"/>
                    <a:pt x="1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58"/>
                    <a:pt x="5" y="58"/>
                    <a:pt x="5" y="58"/>
                  </a:cubicBezTo>
                  <a:lnTo>
                    <a:pt x="0" y="58"/>
                  </a:lnTo>
                  <a:close/>
                  <a:moveTo>
                    <a:pt x="5" y="28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26" y="28"/>
                    <a:pt x="33" y="26"/>
                    <a:pt x="33" y="17"/>
                  </a:cubicBezTo>
                  <a:cubicBezTo>
                    <a:pt x="33" y="8"/>
                    <a:pt x="26" y="5"/>
                    <a:pt x="18" y="5"/>
                  </a:cubicBezTo>
                  <a:cubicBezTo>
                    <a:pt x="5" y="5"/>
                    <a:pt x="5" y="5"/>
                    <a:pt x="5" y="5"/>
                  </a:cubicBezTo>
                  <a:lnTo>
                    <a:pt x="5" y="2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>
                <a:solidFill>
                  <a:prstClr val="black"/>
                </a:solidFill>
              </a:endParaRPr>
            </a:p>
          </p:txBody>
        </p:sp>
        <p:sp>
          <p:nvSpPr>
            <p:cNvPr id="26" name="Freeform 12"/>
            <p:cNvSpPr>
              <a:spLocks noEditPoints="1"/>
            </p:cNvSpPr>
            <p:nvPr userDrawn="1"/>
          </p:nvSpPr>
          <p:spPr bwMode="auto">
            <a:xfrm>
              <a:off x="2001" y="1397"/>
              <a:ext cx="269" cy="305"/>
            </a:xfrm>
            <a:custGeom>
              <a:avLst/>
              <a:gdLst/>
              <a:ahLst/>
              <a:cxnLst>
                <a:cxn ang="0">
                  <a:pos x="38" y="21"/>
                </a:cxn>
                <a:cxn ang="0">
                  <a:pos x="19" y="43"/>
                </a:cxn>
                <a:cxn ang="0">
                  <a:pos x="0" y="21"/>
                </a:cxn>
                <a:cxn ang="0">
                  <a:pos x="19" y="0"/>
                </a:cxn>
                <a:cxn ang="0">
                  <a:pos x="38" y="21"/>
                </a:cxn>
                <a:cxn ang="0">
                  <a:pos x="19" y="4"/>
                </a:cxn>
                <a:cxn ang="0">
                  <a:pos x="6" y="21"/>
                </a:cxn>
                <a:cxn ang="0">
                  <a:pos x="19" y="38"/>
                </a:cxn>
                <a:cxn ang="0">
                  <a:pos x="33" y="21"/>
                </a:cxn>
                <a:cxn ang="0">
                  <a:pos x="19" y="4"/>
                </a:cxn>
              </a:cxnLst>
              <a:rect l="0" t="0" r="r" b="b"/>
              <a:pathLst>
                <a:path w="38" h="43">
                  <a:moveTo>
                    <a:pt x="38" y="21"/>
                  </a:moveTo>
                  <a:cubicBezTo>
                    <a:pt x="38" y="32"/>
                    <a:pt x="32" y="43"/>
                    <a:pt x="19" y="43"/>
                  </a:cubicBezTo>
                  <a:cubicBezTo>
                    <a:pt x="6" y="43"/>
                    <a:pt x="0" y="32"/>
                    <a:pt x="0" y="21"/>
                  </a:cubicBezTo>
                  <a:cubicBezTo>
                    <a:pt x="0" y="11"/>
                    <a:pt x="6" y="0"/>
                    <a:pt x="19" y="0"/>
                  </a:cubicBezTo>
                  <a:cubicBezTo>
                    <a:pt x="32" y="0"/>
                    <a:pt x="38" y="11"/>
                    <a:pt x="38" y="21"/>
                  </a:cubicBezTo>
                  <a:close/>
                  <a:moveTo>
                    <a:pt x="19" y="4"/>
                  </a:moveTo>
                  <a:cubicBezTo>
                    <a:pt x="10" y="4"/>
                    <a:pt x="6" y="14"/>
                    <a:pt x="6" y="21"/>
                  </a:cubicBezTo>
                  <a:cubicBezTo>
                    <a:pt x="6" y="29"/>
                    <a:pt x="10" y="38"/>
                    <a:pt x="19" y="38"/>
                  </a:cubicBezTo>
                  <a:cubicBezTo>
                    <a:pt x="29" y="38"/>
                    <a:pt x="33" y="29"/>
                    <a:pt x="33" y="21"/>
                  </a:cubicBezTo>
                  <a:cubicBezTo>
                    <a:pt x="33" y="14"/>
                    <a:pt x="29" y="4"/>
                    <a:pt x="19" y="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>
                <a:solidFill>
                  <a:prstClr val="black"/>
                </a:solidFill>
              </a:endParaRPr>
            </a:p>
          </p:txBody>
        </p:sp>
        <p:sp>
          <p:nvSpPr>
            <p:cNvPr id="27" name="Freeform 13"/>
            <p:cNvSpPr>
              <a:spLocks/>
            </p:cNvSpPr>
            <p:nvPr userDrawn="1"/>
          </p:nvSpPr>
          <p:spPr bwMode="auto">
            <a:xfrm>
              <a:off x="2291" y="1404"/>
              <a:ext cx="461" cy="284"/>
            </a:xfrm>
            <a:custGeom>
              <a:avLst/>
              <a:gdLst/>
              <a:ahLst/>
              <a:cxnLst>
                <a:cxn ang="0">
                  <a:pos x="128" y="241"/>
                </a:cxn>
                <a:cxn ang="0">
                  <a:pos x="128" y="241"/>
                </a:cxn>
                <a:cxn ang="0">
                  <a:pos x="213" y="0"/>
                </a:cxn>
                <a:cxn ang="0">
                  <a:pos x="255" y="0"/>
                </a:cxn>
                <a:cxn ang="0">
                  <a:pos x="340" y="241"/>
                </a:cxn>
                <a:cxn ang="0">
                  <a:pos x="340" y="241"/>
                </a:cxn>
                <a:cxn ang="0">
                  <a:pos x="425" y="0"/>
                </a:cxn>
                <a:cxn ang="0">
                  <a:pos x="461" y="0"/>
                </a:cxn>
                <a:cxn ang="0">
                  <a:pos x="354" y="284"/>
                </a:cxn>
                <a:cxn ang="0">
                  <a:pos x="319" y="284"/>
                </a:cxn>
                <a:cxn ang="0">
                  <a:pos x="234" y="43"/>
                </a:cxn>
                <a:cxn ang="0">
                  <a:pos x="234" y="43"/>
                </a:cxn>
                <a:cxn ang="0">
                  <a:pos x="142" y="284"/>
                </a:cxn>
                <a:cxn ang="0">
                  <a:pos x="106" y="284"/>
                </a:cxn>
                <a:cxn ang="0">
                  <a:pos x="0" y="0"/>
                </a:cxn>
                <a:cxn ang="0">
                  <a:pos x="43" y="0"/>
                </a:cxn>
                <a:cxn ang="0">
                  <a:pos x="128" y="241"/>
                </a:cxn>
              </a:cxnLst>
              <a:rect l="0" t="0" r="r" b="b"/>
              <a:pathLst>
                <a:path w="461" h="284">
                  <a:moveTo>
                    <a:pt x="128" y="241"/>
                  </a:moveTo>
                  <a:lnTo>
                    <a:pt x="128" y="241"/>
                  </a:lnTo>
                  <a:lnTo>
                    <a:pt x="213" y="0"/>
                  </a:lnTo>
                  <a:lnTo>
                    <a:pt x="255" y="0"/>
                  </a:lnTo>
                  <a:lnTo>
                    <a:pt x="340" y="241"/>
                  </a:lnTo>
                  <a:lnTo>
                    <a:pt x="340" y="241"/>
                  </a:lnTo>
                  <a:lnTo>
                    <a:pt x="425" y="0"/>
                  </a:lnTo>
                  <a:lnTo>
                    <a:pt x="461" y="0"/>
                  </a:lnTo>
                  <a:lnTo>
                    <a:pt x="354" y="284"/>
                  </a:lnTo>
                  <a:lnTo>
                    <a:pt x="319" y="284"/>
                  </a:lnTo>
                  <a:lnTo>
                    <a:pt x="234" y="43"/>
                  </a:lnTo>
                  <a:lnTo>
                    <a:pt x="234" y="43"/>
                  </a:lnTo>
                  <a:lnTo>
                    <a:pt x="142" y="284"/>
                  </a:lnTo>
                  <a:lnTo>
                    <a:pt x="106" y="284"/>
                  </a:lnTo>
                  <a:lnTo>
                    <a:pt x="0" y="0"/>
                  </a:lnTo>
                  <a:lnTo>
                    <a:pt x="43" y="0"/>
                  </a:lnTo>
                  <a:lnTo>
                    <a:pt x="128" y="2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>
                <a:solidFill>
                  <a:prstClr val="black"/>
                </a:solidFill>
              </a:endParaRPr>
            </a:p>
          </p:txBody>
        </p:sp>
        <p:sp>
          <p:nvSpPr>
            <p:cNvPr id="28" name="Freeform 14"/>
            <p:cNvSpPr>
              <a:spLocks noEditPoints="1"/>
            </p:cNvSpPr>
            <p:nvPr userDrawn="1"/>
          </p:nvSpPr>
          <p:spPr bwMode="auto">
            <a:xfrm>
              <a:off x="2780" y="1397"/>
              <a:ext cx="255" cy="305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19" y="38"/>
                </a:cxn>
                <a:cxn ang="0">
                  <a:pos x="30" y="29"/>
                </a:cxn>
                <a:cxn ang="0">
                  <a:pos x="35" y="29"/>
                </a:cxn>
                <a:cxn ang="0">
                  <a:pos x="17" y="43"/>
                </a:cxn>
                <a:cxn ang="0">
                  <a:pos x="0" y="21"/>
                </a:cxn>
                <a:cxn ang="0">
                  <a:pos x="18" y="0"/>
                </a:cxn>
                <a:cxn ang="0">
                  <a:pos x="36" y="22"/>
                </a:cxn>
                <a:cxn ang="0">
                  <a:pos x="5" y="22"/>
                </a:cxn>
                <a:cxn ang="0">
                  <a:pos x="31" y="18"/>
                </a:cxn>
                <a:cxn ang="0">
                  <a:pos x="18" y="4"/>
                </a:cxn>
                <a:cxn ang="0">
                  <a:pos x="5" y="18"/>
                </a:cxn>
                <a:cxn ang="0">
                  <a:pos x="31" y="18"/>
                </a:cxn>
              </a:cxnLst>
              <a:rect l="0" t="0" r="r" b="b"/>
              <a:pathLst>
                <a:path w="36" h="43">
                  <a:moveTo>
                    <a:pt x="5" y="22"/>
                  </a:moveTo>
                  <a:cubicBezTo>
                    <a:pt x="5" y="31"/>
                    <a:pt x="9" y="38"/>
                    <a:pt x="19" y="38"/>
                  </a:cubicBezTo>
                  <a:cubicBezTo>
                    <a:pt x="24" y="38"/>
                    <a:pt x="29" y="34"/>
                    <a:pt x="30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3" y="38"/>
                    <a:pt x="27" y="43"/>
                    <a:pt x="17" y="43"/>
                  </a:cubicBezTo>
                  <a:cubicBezTo>
                    <a:pt x="5" y="43"/>
                    <a:pt x="0" y="32"/>
                    <a:pt x="0" y="21"/>
                  </a:cubicBezTo>
                  <a:cubicBezTo>
                    <a:pt x="0" y="10"/>
                    <a:pt x="6" y="0"/>
                    <a:pt x="18" y="0"/>
                  </a:cubicBezTo>
                  <a:cubicBezTo>
                    <a:pt x="31" y="0"/>
                    <a:pt x="36" y="10"/>
                    <a:pt x="36" y="22"/>
                  </a:cubicBezTo>
                  <a:lnTo>
                    <a:pt x="5" y="22"/>
                  </a:lnTo>
                  <a:close/>
                  <a:moveTo>
                    <a:pt x="31" y="18"/>
                  </a:moveTo>
                  <a:cubicBezTo>
                    <a:pt x="30" y="10"/>
                    <a:pt x="26" y="4"/>
                    <a:pt x="18" y="4"/>
                  </a:cubicBezTo>
                  <a:cubicBezTo>
                    <a:pt x="10" y="4"/>
                    <a:pt x="6" y="11"/>
                    <a:pt x="5" y="18"/>
                  </a:cubicBezTo>
                  <a:lnTo>
                    <a:pt x="31" y="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>
                <a:solidFill>
                  <a:prstClr val="black"/>
                </a:solidFill>
              </a:endParaRPr>
            </a:p>
          </p:txBody>
        </p:sp>
        <p:sp>
          <p:nvSpPr>
            <p:cNvPr id="29" name="Freeform 15"/>
            <p:cNvSpPr>
              <a:spLocks/>
            </p:cNvSpPr>
            <p:nvPr userDrawn="1"/>
          </p:nvSpPr>
          <p:spPr bwMode="auto">
            <a:xfrm>
              <a:off x="3106" y="1397"/>
              <a:ext cx="142" cy="291"/>
            </a:xfrm>
            <a:custGeom>
              <a:avLst/>
              <a:gdLst/>
              <a:ahLst/>
              <a:cxnLst>
                <a:cxn ang="0">
                  <a:pos x="6" y="41"/>
                </a:cxn>
                <a:cxn ang="0">
                  <a:pos x="1" y="41"/>
                </a:cxn>
                <a:cxn ang="0">
                  <a:pos x="1" y="10"/>
                </a:cxn>
                <a:cxn ang="0">
                  <a:pos x="0" y="1"/>
                </a:cxn>
                <a:cxn ang="0">
                  <a:pos x="5" y="1"/>
                </a:cxn>
                <a:cxn ang="0">
                  <a:pos x="6" y="7"/>
                </a:cxn>
                <a:cxn ang="0">
                  <a:pos x="6" y="7"/>
                </a:cxn>
                <a:cxn ang="0">
                  <a:pos x="15" y="0"/>
                </a:cxn>
                <a:cxn ang="0">
                  <a:pos x="20" y="0"/>
                </a:cxn>
                <a:cxn ang="0">
                  <a:pos x="20" y="5"/>
                </a:cxn>
                <a:cxn ang="0">
                  <a:pos x="17" y="4"/>
                </a:cxn>
                <a:cxn ang="0">
                  <a:pos x="6" y="17"/>
                </a:cxn>
                <a:cxn ang="0">
                  <a:pos x="6" y="41"/>
                </a:cxn>
              </a:cxnLst>
              <a:rect l="0" t="0" r="r" b="b"/>
              <a:pathLst>
                <a:path w="20" h="41">
                  <a:moveTo>
                    <a:pt x="6" y="41"/>
                  </a:moveTo>
                  <a:cubicBezTo>
                    <a:pt x="1" y="41"/>
                    <a:pt x="1" y="41"/>
                    <a:pt x="1" y="41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7"/>
                    <a:pt x="0" y="4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3"/>
                    <a:pt x="11" y="0"/>
                    <a:pt x="15" y="0"/>
                  </a:cubicBezTo>
                  <a:cubicBezTo>
                    <a:pt x="16" y="0"/>
                    <a:pt x="18" y="0"/>
                    <a:pt x="20" y="0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8" y="4"/>
                    <a:pt x="17" y="4"/>
                  </a:cubicBezTo>
                  <a:cubicBezTo>
                    <a:pt x="9" y="4"/>
                    <a:pt x="6" y="9"/>
                    <a:pt x="6" y="17"/>
                  </a:cubicBezTo>
                  <a:lnTo>
                    <a:pt x="6" y="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>
                <a:solidFill>
                  <a:prstClr val="black"/>
                </a:solidFill>
              </a:endParaRPr>
            </a:p>
          </p:txBody>
        </p:sp>
        <p:sp>
          <p:nvSpPr>
            <p:cNvPr id="30" name="Freeform 16"/>
            <p:cNvSpPr>
              <a:spLocks/>
            </p:cNvSpPr>
            <p:nvPr userDrawn="1"/>
          </p:nvSpPr>
          <p:spPr bwMode="auto">
            <a:xfrm>
              <a:off x="753" y="-1197"/>
              <a:ext cx="1914" cy="1928"/>
            </a:xfrm>
            <a:custGeom>
              <a:avLst/>
              <a:gdLst/>
              <a:ahLst/>
              <a:cxnLst>
                <a:cxn ang="0">
                  <a:pos x="270" y="113"/>
                </a:cxn>
                <a:cxn ang="0">
                  <a:pos x="136" y="0"/>
                </a:cxn>
                <a:cxn ang="0">
                  <a:pos x="0" y="136"/>
                </a:cxn>
                <a:cxn ang="0">
                  <a:pos x="136" y="272"/>
                </a:cxn>
                <a:cxn ang="0">
                  <a:pos x="244" y="219"/>
                </a:cxn>
                <a:cxn ang="0">
                  <a:pos x="212" y="194"/>
                </a:cxn>
                <a:cxn ang="0">
                  <a:pos x="136" y="232"/>
                </a:cxn>
                <a:cxn ang="0">
                  <a:pos x="40" y="136"/>
                </a:cxn>
                <a:cxn ang="0">
                  <a:pos x="136" y="41"/>
                </a:cxn>
                <a:cxn ang="0">
                  <a:pos x="229" y="113"/>
                </a:cxn>
                <a:cxn ang="0">
                  <a:pos x="128" y="113"/>
                </a:cxn>
                <a:cxn ang="0">
                  <a:pos x="128" y="153"/>
                </a:cxn>
                <a:cxn ang="0">
                  <a:pos x="270" y="153"/>
                </a:cxn>
                <a:cxn ang="0">
                  <a:pos x="270" y="113"/>
                </a:cxn>
              </a:cxnLst>
              <a:rect l="0" t="0" r="r" b="b"/>
              <a:pathLst>
                <a:path w="270" h="272">
                  <a:moveTo>
                    <a:pt x="270" y="113"/>
                  </a:moveTo>
                  <a:cubicBezTo>
                    <a:pt x="259" y="49"/>
                    <a:pt x="203" y="0"/>
                    <a:pt x="136" y="0"/>
                  </a:cubicBezTo>
                  <a:cubicBezTo>
                    <a:pt x="61" y="0"/>
                    <a:pt x="0" y="61"/>
                    <a:pt x="0" y="136"/>
                  </a:cubicBezTo>
                  <a:cubicBezTo>
                    <a:pt x="0" y="211"/>
                    <a:pt x="61" y="272"/>
                    <a:pt x="136" y="272"/>
                  </a:cubicBezTo>
                  <a:cubicBezTo>
                    <a:pt x="180" y="272"/>
                    <a:pt x="219" y="251"/>
                    <a:pt x="244" y="219"/>
                  </a:cubicBezTo>
                  <a:cubicBezTo>
                    <a:pt x="212" y="194"/>
                    <a:pt x="212" y="194"/>
                    <a:pt x="212" y="194"/>
                  </a:cubicBezTo>
                  <a:cubicBezTo>
                    <a:pt x="194" y="217"/>
                    <a:pt x="167" y="232"/>
                    <a:pt x="136" y="232"/>
                  </a:cubicBezTo>
                  <a:cubicBezTo>
                    <a:pt x="83" y="232"/>
                    <a:pt x="40" y="189"/>
                    <a:pt x="40" y="136"/>
                  </a:cubicBezTo>
                  <a:cubicBezTo>
                    <a:pt x="40" y="84"/>
                    <a:pt x="83" y="41"/>
                    <a:pt x="136" y="41"/>
                  </a:cubicBezTo>
                  <a:cubicBezTo>
                    <a:pt x="180" y="41"/>
                    <a:pt x="218" y="71"/>
                    <a:pt x="229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270" y="153"/>
                    <a:pt x="270" y="153"/>
                    <a:pt x="270" y="153"/>
                  </a:cubicBezTo>
                  <a:lnTo>
                    <a:pt x="270" y="1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>
                <a:solidFill>
                  <a:prstClr val="black"/>
                </a:solidFill>
              </a:endParaRPr>
            </a:p>
          </p:txBody>
        </p:sp>
        <p:sp>
          <p:nvSpPr>
            <p:cNvPr id="31" name="Freeform 17"/>
            <p:cNvSpPr>
              <a:spLocks/>
            </p:cNvSpPr>
            <p:nvPr userDrawn="1"/>
          </p:nvSpPr>
          <p:spPr bwMode="auto">
            <a:xfrm>
              <a:off x="-3449" y="-1197"/>
              <a:ext cx="1913" cy="1928"/>
            </a:xfrm>
            <a:custGeom>
              <a:avLst/>
              <a:gdLst/>
              <a:ahLst/>
              <a:cxnLst>
                <a:cxn ang="0">
                  <a:pos x="270" y="113"/>
                </a:cxn>
                <a:cxn ang="0">
                  <a:pos x="136" y="0"/>
                </a:cxn>
                <a:cxn ang="0">
                  <a:pos x="0" y="136"/>
                </a:cxn>
                <a:cxn ang="0">
                  <a:pos x="136" y="272"/>
                </a:cxn>
                <a:cxn ang="0">
                  <a:pos x="244" y="219"/>
                </a:cxn>
                <a:cxn ang="0">
                  <a:pos x="212" y="194"/>
                </a:cxn>
                <a:cxn ang="0">
                  <a:pos x="136" y="232"/>
                </a:cxn>
                <a:cxn ang="0">
                  <a:pos x="41" y="136"/>
                </a:cxn>
                <a:cxn ang="0">
                  <a:pos x="136" y="41"/>
                </a:cxn>
                <a:cxn ang="0">
                  <a:pos x="229" y="113"/>
                </a:cxn>
                <a:cxn ang="0">
                  <a:pos x="128" y="113"/>
                </a:cxn>
                <a:cxn ang="0">
                  <a:pos x="128" y="153"/>
                </a:cxn>
                <a:cxn ang="0">
                  <a:pos x="270" y="153"/>
                </a:cxn>
                <a:cxn ang="0">
                  <a:pos x="270" y="113"/>
                </a:cxn>
              </a:cxnLst>
              <a:rect l="0" t="0" r="r" b="b"/>
              <a:pathLst>
                <a:path w="270" h="272">
                  <a:moveTo>
                    <a:pt x="270" y="113"/>
                  </a:moveTo>
                  <a:cubicBezTo>
                    <a:pt x="259" y="49"/>
                    <a:pt x="203" y="0"/>
                    <a:pt x="136" y="0"/>
                  </a:cubicBezTo>
                  <a:cubicBezTo>
                    <a:pt x="61" y="0"/>
                    <a:pt x="0" y="61"/>
                    <a:pt x="0" y="136"/>
                  </a:cubicBezTo>
                  <a:cubicBezTo>
                    <a:pt x="0" y="211"/>
                    <a:pt x="61" y="272"/>
                    <a:pt x="136" y="272"/>
                  </a:cubicBezTo>
                  <a:cubicBezTo>
                    <a:pt x="180" y="272"/>
                    <a:pt x="219" y="251"/>
                    <a:pt x="244" y="219"/>
                  </a:cubicBezTo>
                  <a:cubicBezTo>
                    <a:pt x="212" y="194"/>
                    <a:pt x="212" y="194"/>
                    <a:pt x="212" y="194"/>
                  </a:cubicBezTo>
                  <a:cubicBezTo>
                    <a:pt x="194" y="217"/>
                    <a:pt x="167" y="232"/>
                    <a:pt x="136" y="232"/>
                  </a:cubicBezTo>
                  <a:cubicBezTo>
                    <a:pt x="83" y="232"/>
                    <a:pt x="41" y="189"/>
                    <a:pt x="41" y="136"/>
                  </a:cubicBezTo>
                  <a:cubicBezTo>
                    <a:pt x="41" y="84"/>
                    <a:pt x="83" y="41"/>
                    <a:pt x="136" y="41"/>
                  </a:cubicBezTo>
                  <a:cubicBezTo>
                    <a:pt x="181" y="41"/>
                    <a:pt x="218" y="71"/>
                    <a:pt x="229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270" y="153"/>
                    <a:pt x="270" y="153"/>
                    <a:pt x="270" y="153"/>
                  </a:cubicBezTo>
                  <a:lnTo>
                    <a:pt x="270" y="1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>
                <a:solidFill>
                  <a:prstClr val="black"/>
                </a:solidFill>
              </a:endParaRPr>
            </a:p>
          </p:txBody>
        </p:sp>
        <p:sp>
          <p:nvSpPr>
            <p:cNvPr id="32" name="Freeform 18"/>
            <p:cNvSpPr>
              <a:spLocks/>
            </p:cNvSpPr>
            <p:nvPr userDrawn="1"/>
          </p:nvSpPr>
          <p:spPr bwMode="auto">
            <a:xfrm>
              <a:off x="2957" y="-1785"/>
              <a:ext cx="553" cy="2516"/>
            </a:xfrm>
            <a:custGeom>
              <a:avLst/>
              <a:gdLst/>
              <a:ahLst/>
              <a:cxnLst>
                <a:cxn ang="0">
                  <a:pos x="40" y="264"/>
                </a:cxn>
                <a:cxn ang="0">
                  <a:pos x="40" y="0"/>
                </a:cxn>
                <a:cxn ang="0">
                  <a:pos x="0" y="0"/>
                </a:cxn>
                <a:cxn ang="0">
                  <a:pos x="0" y="264"/>
                </a:cxn>
                <a:cxn ang="0">
                  <a:pos x="54" y="355"/>
                </a:cxn>
                <a:cxn ang="0">
                  <a:pos x="78" y="322"/>
                </a:cxn>
                <a:cxn ang="0">
                  <a:pos x="40" y="264"/>
                </a:cxn>
              </a:cxnLst>
              <a:rect l="0" t="0" r="r" b="b"/>
              <a:pathLst>
                <a:path w="78" h="355">
                  <a:moveTo>
                    <a:pt x="40" y="264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4"/>
                    <a:pt x="0" y="264"/>
                    <a:pt x="0" y="264"/>
                  </a:cubicBezTo>
                  <a:cubicBezTo>
                    <a:pt x="0" y="307"/>
                    <a:pt x="20" y="332"/>
                    <a:pt x="54" y="355"/>
                  </a:cubicBezTo>
                  <a:cubicBezTo>
                    <a:pt x="78" y="322"/>
                    <a:pt x="78" y="322"/>
                    <a:pt x="78" y="322"/>
                  </a:cubicBezTo>
                  <a:cubicBezTo>
                    <a:pt x="54" y="306"/>
                    <a:pt x="40" y="293"/>
                    <a:pt x="40" y="2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>
                <a:solidFill>
                  <a:prstClr val="black"/>
                </a:solidFill>
              </a:endParaRPr>
            </a:p>
          </p:txBody>
        </p:sp>
        <p:sp>
          <p:nvSpPr>
            <p:cNvPr id="33" name="Freeform 19"/>
            <p:cNvSpPr>
              <a:spLocks/>
            </p:cNvSpPr>
            <p:nvPr userDrawn="1"/>
          </p:nvSpPr>
          <p:spPr bwMode="auto">
            <a:xfrm>
              <a:off x="-1245" y="-1197"/>
              <a:ext cx="1729" cy="1900"/>
            </a:xfrm>
            <a:custGeom>
              <a:avLst/>
              <a:gdLst/>
              <a:ahLst/>
              <a:cxnLst>
                <a:cxn ang="0">
                  <a:pos x="244" y="113"/>
                </a:cxn>
                <a:cxn ang="0">
                  <a:pos x="131" y="0"/>
                </a:cxn>
                <a:cxn ang="0">
                  <a:pos x="41" y="37"/>
                </a:cxn>
                <a:cxn ang="0">
                  <a:pos x="41" y="11"/>
                </a:cxn>
                <a:cxn ang="0">
                  <a:pos x="0" y="11"/>
                </a:cxn>
                <a:cxn ang="0">
                  <a:pos x="0" y="153"/>
                </a:cxn>
                <a:cxn ang="0">
                  <a:pos x="41" y="153"/>
                </a:cxn>
                <a:cxn ang="0">
                  <a:pos x="41" y="120"/>
                </a:cxn>
                <a:cxn ang="0">
                  <a:pos x="131" y="41"/>
                </a:cxn>
                <a:cxn ang="0">
                  <a:pos x="203" y="113"/>
                </a:cxn>
                <a:cxn ang="0">
                  <a:pos x="203" y="268"/>
                </a:cxn>
                <a:cxn ang="0">
                  <a:pos x="244" y="268"/>
                </a:cxn>
                <a:cxn ang="0">
                  <a:pos x="244" y="113"/>
                </a:cxn>
              </a:cxnLst>
              <a:rect l="0" t="0" r="r" b="b"/>
              <a:pathLst>
                <a:path w="244" h="268">
                  <a:moveTo>
                    <a:pt x="244" y="113"/>
                  </a:moveTo>
                  <a:cubicBezTo>
                    <a:pt x="244" y="50"/>
                    <a:pt x="193" y="0"/>
                    <a:pt x="131" y="0"/>
                  </a:cubicBezTo>
                  <a:cubicBezTo>
                    <a:pt x="96" y="0"/>
                    <a:pt x="64" y="14"/>
                    <a:pt x="41" y="37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41" y="153"/>
                    <a:pt x="41" y="153"/>
                    <a:pt x="41" y="153"/>
                  </a:cubicBezTo>
                  <a:cubicBezTo>
                    <a:pt x="41" y="120"/>
                    <a:pt x="41" y="120"/>
                    <a:pt x="41" y="120"/>
                  </a:cubicBezTo>
                  <a:cubicBezTo>
                    <a:pt x="47" y="87"/>
                    <a:pt x="76" y="41"/>
                    <a:pt x="131" y="41"/>
                  </a:cubicBezTo>
                  <a:cubicBezTo>
                    <a:pt x="171" y="41"/>
                    <a:pt x="203" y="72"/>
                    <a:pt x="203" y="113"/>
                  </a:cubicBezTo>
                  <a:cubicBezTo>
                    <a:pt x="203" y="268"/>
                    <a:pt x="203" y="268"/>
                    <a:pt x="203" y="268"/>
                  </a:cubicBezTo>
                  <a:cubicBezTo>
                    <a:pt x="244" y="268"/>
                    <a:pt x="244" y="268"/>
                    <a:pt x="244" y="268"/>
                  </a:cubicBezTo>
                  <a:lnTo>
                    <a:pt x="244" y="1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>
                <a:solidFill>
                  <a:prstClr val="black"/>
                </a:solidFill>
              </a:endParaRPr>
            </a:p>
          </p:txBody>
        </p:sp>
      </p:grpSp>
      <p:sp>
        <p:nvSpPr>
          <p:cNvPr id="34" name="Title 9"/>
          <p:cNvSpPr>
            <a:spLocks noGrp="1"/>
          </p:cNvSpPr>
          <p:nvPr>
            <p:ph type="title" hasCustomPrompt="1"/>
          </p:nvPr>
        </p:nvSpPr>
        <p:spPr>
          <a:xfrm>
            <a:off x="1524002" y="615087"/>
            <a:ext cx="6854825" cy="1557684"/>
          </a:xfrm>
        </p:spPr>
        <p:txBody>
          <a:bodyPr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</a:p>
        </p:txBody>
      </p:sp>
      <p:sp>
        <p:nvSpPr>
          <p:cNvPr id="35" name="Rectangle 34"/>
          <p:cNvSpPr/>
          <p:nvPr userDrawn="1"/>
        </p:nvSpPr>
        <p:spPr>
          <a:xfrm>
            <a:off x="760415" y="689731"/>
            <a:ext cx="427668" cy="1483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9" tIns="45719" rIns="91439" bIns="45719" rtlCol="0" anchor="ctr"/>
          <a:lstStyle/>
          <a:p>
            <a:pPr algn="ctr"/>
            <a:endParaRPr lang="en-GB" sz="2400">
              <a:solidFill>
                <a:srgbClr val="0655F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98791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ggetto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6" name="Oggetto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72211" y="6264005"/>
            <a:ext cx="1510613" cy="153888"/>
          </a:xfrm>
          <a:prstGeom prst="rect">
            <a:avLst/>
          </a:prstGeom>
        </p:spPr>
        <p:txBody>
          <a:bodyPr/>
          <a:lstStyle/>
          <a:p>
            <a:fld id="{6C955153-7974-A447-8EE8-39A9DB540D2F}" type="datetime1">
              <a:rPr lang="en-GB" smtClean="0">
                <a:solidFill>
                  <a:prstClr val="black"/>
                </a:solidFill>
              </a:rPr>
              <a:pPr/>
              <a:t>05/05/2025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282826" y="6264005"/>
            <a:ext cx="8381999" cy="153888"/>
          </a:xfrm>
          <a:prstGeom prst="rect">
            <a:avLst/>
          </a:prstGeom>
        </p:spPr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Presentation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59451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72211" y="6264005"/>
            <a:ext cx="1510613" cy="15388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>
                <a:solidFill>
                  <a:srgbClr val="C6C6C6">
                    <a:lumMod val="75000"/>
                  </a:srgbClr>
                </a:solidFill>
              </a:rPr>
              <a:t>03/07/2017</a:t>
            </a:r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82826" y="6264005"/>
            <a:ext cx="8381999" cy="15388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>
                <a:solidFill>
                  <a:prstClr val="black"/>
                </a:solidFill>
              </a:rPr>
              <a:t>W30 / 2017 - BESS Update to CEO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4825" y="6416405"/>
            <a:ext cx="762000" cy="15388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>
                <a:solidFill>
                  <a:prstClr val="black"/>
                </a:solidFill>
              </a:rPr>
              <a:pPr/>
              <a:t>‹N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085367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/>
              <a:t>Click to edit Master subtitle style if require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57855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10664825" y="6416405"/>
            <a:ext cx="762000" cy="153888"/>
          </a:xfrm>
          <a:prstGeom prst="rect">
            <a:avLst/>
          </a:prstGeom>
        </p:spPr>
        <p:txBody>
          <a:bodyPr/>
          <a:lstStyle/>
          <a:p>
            <a:fld id="{D7DEC8E7-16C1-4149-BCD3-453DEBB00C6E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9380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 singl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ttotitolo 2"/>
          <p:cNvSpPr txBox="1">
            <a:spLocks/>
          </p:cNvSpPr>
          <p:nvPr userDrawn="1"/>
        </p:nvSpPr>
        <p:spPr>
          <a:xfrm>
            <a:off x="433917" y="1692277"/>
            <a:ext cx="11140016" cy="4283075"/>
          </a:xfrm>
          <a:prstGeom prst="rect">
            <a:avLst/>
          </a:prstGeom>
        </p:spPr>
        <p:txBody>
          <a:bodyPr lIns="121917" tIns="0" rIns="121917" bIns="60958"/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85">
              <a:buFont typeface="Arial"/>
              <a:buNone/>
              <a:defRPr/>
            </a:pPr>
            <a:endParaRPr lang="it-IT">
              <a:solidFill>
                <a:prstClr val="black">
                  <a:tint val="75000"/>
                </a:prstClr>
              </a:solidFill>
              <a:cs typeface="Arial"/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600">
                <a:solidFill>
                  <a:srgbClr val="A8A9AD"/>
                </a:solidFill>
              </a:defRPr>
            </a:lvl1pPr>
          </a:lstStyle>
          <a:p>
            <a:pPr>
              <a:defRPr/>
            </a:pPr>
            <a:fld id="{200CA9A3-9FF2-47CF-8C5F-52462FBD7B1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  <p:sp>
        <p:nvSpPr>
          <p:cNvPr id="10" name="Titolo 1"/>
          <p:cNvSpPr>
            <a:spLocks noGrp="1"/>
          </p:cNvSpPr>
          <p:nvPr>
            <p:ph type="title" hasCustomPrompt="1"/>
          </p:nvPr>
        </p:nvSpPr>
        <p:spPr>
          <a:xfrm>
            <a:off x="1804800" y="443595"/>
            <a:ext cx="8558400" cy="480000"/>
          </a:xfrm>
          <a:prstGeom prst="rect">
            <a:avLst/>
          </a:prstGeom>
        </p:spPr>
        <p:txBody>
          <a:bodyPr/>
          <a:lstStyle>
            <a:lvl1pPr algn="l">
              <a:defRPr lang="it-IT" sz="32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it-IT" err="1"/>
              <a:t>Page</a:t>
            </a:r>
            <a:r>
              <a:rPr lang="it-IT"/>
              <a:t> Title</a:t>
            </a:r>
          </a:p>
        </p:txBody>
      </p:sp>
      <p:sp>
        <p:nvSpPr>
          <p:cNvPr id="11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804800" y="923648"/>
            <a:ext cx="8558400" cy="480000"/>
          </a:xfrm>
          <a:prstGeom prst="rect">
            <a:avLst/>
          </a:prstGeom>
        </p:spPr>
        <p:txBody>
          <a:bodyPr/>
          <a:lstStyle>
            <a:lvl1pPr marL="0" indent="0" algn="l" defTabSz="609585" rtl="0" eaLnBrk="1" latinLnBrk="0" hangingPunct="1">
              <a:lnSpc>
                <a:spcPts val="3733"/>
              </a:lnSpc>
              <a:spcBef>
                <a:spcPct val="0"/>
              </a:spcBef>
              <a:buNone/>
              <a:defRPr lang="it-IT" sz="2700" b="0" kern="1200" cap="none" baseline="0" dirty="0">
                <a:solidFill>
                  <a:srgbClr val="0033A0"/>
                </a:solidFill>
                <a:latin typeface="Arial"/>
                <a:ea typeface="+mj-ea"/>
                <a:cs typeface="Arial"/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it-IT" err="1"/>
              <a:t>Subtitle</a:t>
            </a:r>
            <a:r>
              <a:rPr lang="it-IT"/>
              <a:t> (</a:t>
            </a:r>
            <a:r>
              <a:rPr lang="it-IT" err="1"/>
              <a:t>if</a:t>
            </a:r>
            <a:r>
              <a:rPr lang="it-IT"/>
              <a:t> </a:t>
            </a:r>
            <a:r>
              <a:rPr lang="it-IT" err="1"/>
              <a:t>any</a:t>
            </a:r>
            <a:r>
              <a:rPr lang="it-IT"/>
              <a:t>)</a:t>
            </a:r>
          </a:p>
        </p:txBody>
      </p:sp>
      <p:sp>
        <p:nvSpPr>
          <p:cNvPr id="12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398238" y="2256000"/>
            <a:ext cx="11247029" cy="395730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733"/>
              </a:lnSpc>
              <a:buNone/>
              <a:defRPr sz="2400" baseline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85" indent="0">
              <a:buNone/>
              <a:defRPr sz="24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70" indent="0">
              <a:buNone/>
              <a:defRPr sz="24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54" indent="0">
              <a:buNone/>
              <a:defRPr sz="24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339" indent="0">
              <a:buNone/>
              <a:defRPr sz="24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/>
              <a:t>Single </a:t>
            </a:r>
            <a:r>
              <a:rPr lang="it-IT" err="1"/>
              <a:t>column</a:t>
            </a:r>
            <a:r>
              <a:rPr lang="it-IT"/>
              <a:t> text</a:t>
            </a:r>
          </a:p>
        </p:txBody>
      </p:sp>
    </p:spTree>
    <p:extLst>
      <p:ext uri="{BB962C8B-B14F-4D97-AF65-F5344CB8AC3E}">
        <p14:creationId xmlns:p14="http://schemas.microsoft.com/office/powerpoint/2010/main" val="27548205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72211" y="6264005"/>
            <a:ext cx="1510613" cy="153888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C6C6C6">
                    <a:lumMod val="75000"/>
                  </a:srgbClr>
                </a:solidFill>
              </a:rPr>
              <a:t>24/02/2016</a:t>
            </a:r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282825" y="6264005"/>
            <a:ext cx="8381999" cy="153888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/>
              <a:t>Click to edit Master subtitle style if require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85116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60" imgH="360" progId="TCLayout.ActiveDocument.1">
                  <p:embed/>
                </p:oleObj>
              </mc:Choice>
              <mc:Fallback>
                <p:oleObj name="Diapositiva think-cell" r:id="rId3" imgW="360" imgH="360" progId="TCLayout.ActiveDocument.1">
                  <p:embed/>
                  <p:pic>
                    <p:nvPicPr>
                      <p:cNvPr id="7" name="Oggetto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1" y="1085369"/>
            <a:ext cx="8375651" cy="276999"/>
          </a:xfrm>
        </p:spPr>
        <p:txBody>
          <a:bodyPr rIns="0">
            <a:noAutofit/>
          </a:bodyPr>
          <a:lstStyle>
            <a:lvl1pPr>
              <a:defRPr sz="1867"/>
            </a:lvl1pPr>
          </a:lstStyle>
          <a:p>
            <a:pPr lvl="0"/>
            <a:r>
              <a:rPr lang="en-GB"/>
              <a:t>Click to edit Master subtitle style if required</a:t>
            </a:r>
            <a:endParaRPr lang="en-US"/>
          </a:p>
        </p:txBody>
      </p:sp>
      <p:sp>
        <p:nvSpPr>
          <p:cNvPr id="9" name="Segnaposto numero diapositiva 3"/>
          <p:cNvSpPr>
            <a:spLocks noGrp="1"/>
          </p:cNvSpPr>
          <p:nvPr>
            <p:ph type="sldNum" sz="quarter" idx="12"/>
          </p:nvPr>
        </p:nvSpPr>
        <p:spPr>
          <a:xfrm>
            <a:off x="10664824" y="6559667"/>
            <a:ext cx="762000" cy="153888"/>
          </a:xfrm>
        </p:spPr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3541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ue Paragr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magin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ttangolo 6"/>
          <p:cNvSpPr/>
          <p:nvPr userDrawn="1"/>
        </p:nvSpPr>
        <p:spPr>
          <a:xfrm rot="5400000">
            <a:off x="487097" y="1117255"/>
            <a:ext cx="960511" cy="253321"/>
          </a:xfrm>
          <a:prstGeom prst="rect">
            <a:avLst/>
          </a:prstGeom>
          <a:gradFill>
            <a:gsLst>
              <a:gs pos="34000">
                <a:srgbClr val="C4C6C5"/>
              </a:gs>
              <a:gs pos="100000">
                <a:srgbClr val="C5C5C5">
                  <a:alpha val="11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b="1">
              <a:solidFill>
                <a:prstClr val="white"/>
              </a:solidFill>
            </a:endParaRPr>
          </a:p>
        </p:txBody>
      </p:sp>
      <p:sp>
        <p:nvSpPr>
          <p:cNvPr id="8" name="Segnaposto testo 19"/>
          <p:cNvSpPr>
            <a:spLocks noGrp="1"/>
          </p:cNvSpPr>
          <p:nvPr>
            <p:ph type="body" sz="quarter" idx="10" hasCustomPrompt="1"/>
          </p:nvPr>
        </p:nvSpPr>
        <p:spPr>
          <a:xfrm>
            <a:off x="1183972" y="821851"/>
            <a:ext cx="4506535" cy="1065139"/>
          </a:xfrm>
        </p:spPr>
        <p:txBody>
          <a:bodyPr anchor="t">
            <a:normAutofit/>
          </a:bodyPr>
          <a:lstStyle>
            <a:lvl1pPr marL="0" indent="0">
              <a:lnSpc>
                <a:spcPts val="2400"/>
              </a:lnSpc>
              <a:buFontTx/>
              <a:buNone/>
              <a:defRPr sz="3000" b="1" baseline="0">
                <a:solidFill>
                  <a:srgbClr val="008C5A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it-IT"/>
              <a:t>Titolo Sezione</a:t>
            </a:r>
          </a:p>
        </p:txBody>
      </p:sp>
      <p:sp>
        <p:nvSpPr>
          <p:cNvPr id="9" name="Segnaposto testo 17"/>
          <p:cNvSpPr>
            <a:spLocks noGrp="1"/>
          </p:cNvSpPr>
          <p:nvPr>
            <p:ph type="body" sz="quarter" idx="11" hasCustomPrompt="1"/>
          </p:nvPr>
        </p:nvSpPr>
        <p:spPr>
          <a:xfrm>
            <a:off x="1184275" y="2708841"/>
            <a:ext cx="4506232" cy="322860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lang="it-IT" sz="1400" b="0" i="0" smtClean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Lorem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ipsum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dolor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sit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amet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,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consectetur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adipiscing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elit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.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Fusce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imperdiet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massa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nec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justo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convallis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mattis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.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Suspendisse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et ex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ac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erat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ullamcorper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semper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.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Pellentesque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pulvinar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ipsum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et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lectus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hendrerit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tempor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.</a:t>
            </a:r>
          </a:p>
          <a:p>
            <a:pPr lvl="0"/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Vivamus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aliquam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neque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lobortis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,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facilisis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neque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quis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,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luctus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urna. Cras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dui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libero,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imperdiet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vitae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nisi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id,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malesuada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dignissim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augue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. Nulla lacinia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quis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lacus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sit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amet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auctor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.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Fusce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a ante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ac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ligula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ullamcorper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elementum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.</a:t>
            </a:r>
          </a:p>
          <a:p>
            <a:pPr lvl="0"/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Ut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laoreet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dapibus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fermentum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.</a:t>
            </a:r>
            <a:endParaRPr lang="it-IT"/>
          </a:p>
        </p:txBody>
      </p:sp>
      <p:sp>
        <p:nvSpPr>
          <p:cNvPr id="10" name="Segnaposto testo 17"/>
          <p:cNvSpPr>
            <a:spLocks noGrp="1"/>
          </p:cNvSpPr>
          <p:nvPr>
            <p:ph type="body" sz="quarter" idx="12" hasCustomPrompt="1"/>
          </p:nvPr>
        </p:nvSpPr>
        <p:spPr>
          <a:xfrm>
            <a:off x="1184275" y="2121012"/>
            <a:ext cx="4506232" cy="516051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lang="it-IT" sz="1600" b="1" i="0" smtClean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Lorem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ipsum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dolor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sit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amet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.</a:t>
            </a:r>
            <a:endParaRPr lang="it-IT"/>
          </a:p>
        </p:txBody>
      </p:sp>
      <p:sp>
        <p:nvSpPr>
          <p:cNvPr id="11" name="Segnaposto testo 17"/>
          <p:cNvSpPr>
            <a:spLocks noGrp="1"/>
          </p:cNvSpPr>
          <p:nvPr>
            <p:ph type="body" sz="quarter" idx="13" hasCustomPrompt="1"/>
          </p:nvPr>
        </p:nvSpPr>
        <p:spPr>
          <a:xfrm>
            <a:off x="6505575" y="2708841"/>
            <a:ext cx="4506232" cy="322860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lang="it-IT" sz="1400" b="0" i="0" smtClean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Lorem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ipsum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dolor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sit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amet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,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consectetur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adipiscing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elit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.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Fusce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imperdiet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massa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nec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justo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convallis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mattis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.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Suspendisse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et ex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ac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erat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ullamcorper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semper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.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Pellentesque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pulvinar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ipsum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et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lectus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hendrerit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tempor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.</a:t>
            </a:r>
          </a:p>
          <a:p>
            <a:pPr lvl="0"/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Vivamus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aliquam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neque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lobortis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,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facilisis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neque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quis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,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luctus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urna. Cras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dui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libero,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imperdiet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vitae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nisi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id,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malesuada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dignissim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augue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. Nulla lacinia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quis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lacus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sit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amet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auctor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.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Fusce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a ante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ac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ligula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ullamcorper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elementum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.</a:t>
            </a:r>
          </a:p>
          <a:p>
            <a:pPr lvl="0"/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Ut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laoreet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dapibus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fermentum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.</a:t>
            </a:r>
            <a:endParaRPr lang="it-IT"/>
          </a:p>
        </p:txBody>
      </p:sp>
      <p:sp>
        <p:nvSpPr>
          <p:cNvPr id="14" name="Segnaposto testo 17"/>
          <p:cNvSpPr>
            <a:spLocks noGrp="1"/>
          </p:cNvSpPr>
          <p:nvPr>
            <p:ph type="body" sz="quarter" idx="14" hasCustomPrompt="1"/>
          </p:nvPr>
        </p:nvSpPr>
        <p:spPr>
          <a:xfrm>
            <a:off x="6505575" y="2121012"/>
            <a:ext cx="4506232" cy="516051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lang="it-IT" sz="1600" b="1" i="0" smtClean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Lorem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ipsum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dolor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sit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 </a:t>
            </a:r>
            <a:r>
              <a:rPr lang="it-IT" b="0" i="0" err="1">
                <a:solidFill>
                  <a:srgbClr val="000000"/>
                </a:solidFill>
                <a:effectLst/>
                <a:latin typeface="Open Sans" charset="0"/>
              </a:rPr>
              <a:t>amet</a:t>
            </a:r>
            <a:r>
              <a:rPr lang="it-IT" b="0" i="0">
                <a:solidFill>
                  <a:srgbClr val="000000"/>
                </a:solidFill>
                <a:effectLst/>
                <a:latin typeface="Open Sans" charset="0"/>
              </a:rPr>
              <a:t>.</a:t>
            </a:r>
            <a:endParaRPr lang="it-IT"/>
          </a:p>
        </p:txBody>
      </p:sp>
      <p:pic>
        <p:nvPicPr>
          <p:cNvPr id="15" name="Immagin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6899" y="836913"/>
            <a:ext cx="1605392" cy="493866"/>
          </a:xfrm>
          <a:prstGeom prst="rect">
            <a:avLst/>
          </a:prstGeom>
        </p:spPr>
      </p:pic>
      <p:sp>
        <p:nvSpPr>
          <p:cNvPr id="18" name="Segnaposto numero diapositiva 5"/>
          <p:cNvSpPr txBox="1">
            <a:spLocks/>
          </p:cNvSpPr>
          <p:nvPr userDrawn="1"/>
        </p:nvSpPr>
        <p:spPr>
          <a:xfrm>
            <a:off x="8610600" y="61915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E43726B-B7DB-D049-9911-FFEBEDF71420}" type="slidenum">
              <a:rPr lang="it-IT" smtClean="0">
                <a:solidFill>
                  <a:prstClr val="black">
                    <a:tint val="75000"/>
                  </a:prstClr>
                </a:solidFill>
                <a:ea typeface="Arial" charset="0"/>
                <a:cs typeface="Arial" charset="0"/>
              </a:rPr>
              <a:pPr algn="r"/>
              <a:t>‹N›</a:t>
            </a:fld>
            <a:endParaRPr lang="it-IT">
              <a:solidFill>
                <a:prstClr val="black">
                  <a:tint val="75000"/>
                </a:prstClr>
              </a:solidFill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3239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2" y="2057401"/>
            <a:ext cx="5334001" cy="41084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2" y="2057401"/>
            <a:ext cx="5330825" cy="41084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72211" y="6264005"/>
            <a:ext cx="1510613" cy="153888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282827" y="6264005"/>
            <a:ext cx="8381999" cy="153888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1" y="1085369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430000" y="6692559"/>
            <a:ext cx="762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377" rtl="0" eaLnBrk="1" latinLnBrk="0" hangingPunct="1">
              <a:lnSpc>
                <a:spcPct val="90000"/>
              </a:lnSpc>
              <a:defRPr sz="1000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algn="l" defTabSz="91437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ED2235E-0982-3B42-A838-A74550CD4449}" type="slidenum">
              <a:rPr lang="en-GB" sz="1000" smtClean="0"/>
              <a:pPr/>
              <a:t>‹N›</a:t>
            </a:fld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107212583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fond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Fare clic per modificare lo stile del titolo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808367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803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GB"/>
              <a:t>Click to edit Master subtitle style if required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664825" y="6534606"/>
            <a:ext cx="762000" cy="129429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B0584A1-DF4D-5C4B-8116-BFE5D42F89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opyright © 2021 Enel S.p.A. All rights reserved. 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0300667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56624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estazione sezion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ggetto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60" imgH="360" progId="TCLayout.ActiveDocument.1">
                  <p:embed/>
                </p:oleObj>
              </mc:Choice>
              <mc:Fallback>
                <p:oleObj name="Diapositiva think-cell" r:id="rId3" imgW="360" imgH="360" progId="TCLayout.ActiveDocument.1">
                  <p:embed/>
                  <p:pic>
                    <p:nvPicPr>
                      <p:cNvPr id="15" name="Oggetto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64825" y="6264005"/>
            <a:ext cx="762000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prstClr val="white"/>
                </a:solidFill>
              </a:rPr>
              <a:pPr/>
              <a:t>‹N›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14" name="Title 9"/>
          <p:cNvSpPr>
            <a:spLocks noGrp="1"/>
          </p:cNvSpPr>
          <p:nvPr>
            <p:ph type="title" hasCustomPrompt="1"/>
          </p:nvPr>
        </p:nvSpPr>
        <p:spPr>
          <a:xfrm>
            <a:off x="2082309" y="615088"/>
            <a:ext cx="5534519" cy="3495811"/>
          </a:xfrm>
        </p:spPr>
        <p:txBody>
          <a:bodyPr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</a:p>
        </p:txBody>
      </p:sp>
      <p:grpSp>
        <p:nvGrpSpPr>
          <p:cNvPr id="6" name="Group 1"/>
          <p:cNvGrpSpPr/>
          <p:nvPr/>
        </p:nvGrpSpPr>
        <p:grpSpPr>
          <a:xfrm>
            <a:off x="1013885" y="920773"/>
            <a:ext cx="570224" cy="2736827"/>
            <a:chOff x="760413" y="690580"/>
            <a:chExt cx="544156" cy="2611716"/>
          </a:xfrm>
        </p:grpSpPr>
        <p:sp>
          <p:nvSpPr>
            <p:cNvPr id="7" name="Rectangle 7"/>
            <p:cNvSpPr/>
            <p:nvPr userDrawn="1"/>
          </p:nvSpPr>
          <p:spPr>
            <a:xfrm>
              <a:off x="760413" y="690580"/>
              <a:ext cx="544156" cy="188699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/>
            <a:lstStyle/>
            <a:p>
              <a:pPr algn="ctr"/>
              <a:endParaRPr lang="en-GB" sz="2400">
                <a:solidFill>
                  <a:srgbClr val="0655FA"/>
                </a:solidFill>
              </a:endParaRPr>
            </a:p>
          </p:txBody>
        </p:sp>
        <p:sp>
          <p:nvSpPr>
            <p:cNvPr id="9" name="Rectangle 15"/>
            <p:cNvSpPr/>
            <p:nvPr userDrawn="1"/>
          </p:nvSpPr>
          <p:spPr>
            <a:xfrm>
              <a:off x="760413" y="2565815"/>
              <a:ext cx="544156" cy="736481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80000"/>
                  </a:schemeClr>
                </a:gs>
                <a:gs pos="95000">
                  <a:schemeClr val="bg1">
                    <a:alpha val="0"/>
                  </a:schemeClr>
                </a:gs>
              </a:gsLst>
              <a:lin ang="576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2" name="Group 5"/>
          <p:cNvGrpSpPr>
            <a:grpSpLocks noChangeAspect="1"/>
          </p:cNvGrpSpPr>
          <p:nvPr/>
        </p:nvGrpSpPr>
        <p:grpSpPr bwMode="auto">
          <a:xfrm>
            <a:off x="10058345" y="626583"/>
            <a:ext cx="1341112" cy="672000"/>
            <a:chOff x="-3449" y="-1785"/>
            <a:chExt cx="6959" cy="3487"/>
          </a:xfrm>
          <a:solidFill>
            <a:schemeClr val="bg1"/>
          </a:solidFill>
        </p:grpSpPr>
        <p:sp>
          <p:nvSpPr>
            <p:cNvPr id="19" name="Freeform 6"/>
            <p:cNvSpPr>
              <a:spLocks/>
            </p:cNvSpPr>
            <p:nvPr userDrawn="1"/>
          </p:nvSpPr>
          <p:spPr bwMode="auto">
            <a:xfrm>
              <a:off x="-12" y="1270"/>
              <a:ext cx="319" cy="432"/>
            </a:xfrm>
            <a:custGeom>
              <a:avLst/>
              <a:gdLst/>
              <a:ahLst/>
              <a:cxnLst>
                <a:cxn ang="0">
                  <a:pos x="45" y="30"/>
                </a:cxn>
                <a:cxn ang="0">
                  <a:pos x="45" y="57"/>
                </a:cxn>
                <a:cxn ang="0">
                  <a:pos x="25" y="61"/>
                </a:cxn>
                <a:cxn ang="0">
                  <a:pos x="0" y="30"/>
                </a:cxn>
                <a:cxn ang="0">
                  <a:pos x="25" y="0"/>
                </a:cxn>
                <a:cxn ang="0">
                  <a:pos x="45" y="16"/>
                </a:cxn>
                <a:cxn ang="0">
                  <a:pos x="39" y="16"/>
                </a:cxn>
                <a:cxn ang="0">
                  <a:pos x="25" y="5"/>
                </a:cxn>
                <a:cxn ang="0">
                  <a:pos x="5" y="30"/>
                </a:cxn>
                <a:cxn ang="0">
                  <a:pos x="27" y="56"/>
                </a:cxn>
                <a:cxn ang="0">
                  <a:pos x="40" y="53"/>
                </a:cxn>
                <a:cxn ang="0">
                  <a:pos x="40" y="35"/>
                </a:cxn>
                <a:cxn ang="0">
                  <a:pos x="26" y="35"/>
                </a:cxn>
                <a:cxn ang="0">
                  <a:pos x="26" y="30"/>
                </a:cxn>
                <a:cxn ang="0">
                  <a:pos x="45" y="30"/>
                </a:cxn>
              </a:cxnLst>
              <a:rect l="0" t="0" r="r" b="b"/>
              <a:pathLst>
                <a:path w="45" h="61">
                  <a:moveTo>
                    <a:pt x="45" y="30"/>
                  </a:moveTo>
                  <a:cubicBezTo>
                    <a:pt x="45" y="57"/>
                    <a:pt x="45" y="57"/>
                    <a:pt x="45" y="57"/>
                  </a:cubicBezTo>
                  <a:cubicBezTo>
                    <a:pt x="38" y="60"/>
                    <a:pt x="32" y="61"/>
                    <a:pt x="25" y="61"/>
                  </a:cubicBezTo>
                  <a:cubicBezTo>
                    <a:pt x="9" y="61"/>
                    <a:pt x="0" y="48"/>
                    <a:pt x="0" y="30"/>
                  </a:cubicBezTo>
                  <a:cubicBezTo>
                    <a:pt x="0" y="15"/>
                    <a:pt x="8" y="0"/>
                    <a:pt x="25" y="0"/>
                  </a:cubicBezTo>
                  <a:cubicBezTo>
                    <a:pt x="34" y="0"/>
                    <a:pt x="44" y="5"/>
                    <a:pt x="45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8"/>
                    <a:pt x="32" y="5"/>
                    <a:pt x="25" y="5"/>
                  </a:cubicBezTo>
                  <a:cubicBezTo>
                    <a:pt x="11" y="5"/>
                    <a:pt x="5" y="18"/>
                    <a:pt x="5" y="30"/>
                  </a:cubicBezTo>
                  <a:cubicBezTo>
                    <a:pt x="5" y="45"/>
                    <a:pt x="12" y="56"/>
                    <a:pt x="27" y="56"/>
                  </a:cubicBezTo>
                  <a:cubicBezTo>
                    <a:pt x="32" y="56"/>
                    <a:pt x="36" y="55"/>
                    <a:pt x="40" y="53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0"/>
                    <a:pt x="26" y="30"/>
                    <a:pt x="26" y="30"/>
                  </a:cubicBezTo>
                  <a:lnTo>
                    <a:pt x="45" y="3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39"/>
              <a:endParaRPr lang="en-GB" sz="2489">
                <a:solidFill>
                  <a:prstClr val="black"/>
                </a:solidFill>
              </a:endParaRPr>
            </a:p>
          </p:txBody>
        </p:sp>
        <p:sp>
          <p:nvSpPr>
            <p:cNvPr id="20" name="Freeform 7"/>
            <p:cNvSpPr>
              <a:spLocks/>
            </p:cNvSpPr>
            <p:nvPr userDrawn="1"/>
          </p:nvSpPr>
          <p:spPr bwMode="auto">
            <a:xfrm>
              <a:off x="406" y="1397"/>
              <a:ext cx="135" cy="291"/>
            </a:xfrm>
            <a:custGeom>
              <a:avLst/>
              <a:gdLst/>
              <a:ahLst/>
              <a:cxnLst>
                <a:cxn ang="0">
                  <a:pos x="5" y="41"/>
                </a:cxn>
                <a:cxn ang="0">
                  <a:pos x="0" y="41"/>
                </a:cxn>
                <a:cxn ang="0">
                  <a:pos x="0" y="10"/>
                </a:cxn>
                <a:cxn ang="0">
                  <a:pos x="0" y="1"/>
                </a:cxn>
                <a:cxn ang="0">
                  <a:pos x="5" y="1"/>
                </a:cxn>
                <a:cxn ang="0">
                  <a:pos x="5" y="7"/>
                </a:cxn>
                <a:cxn ang="0">
                  <a:pos x="5" y="7"/>
                </a:cxn>
                <a:cxn ang="0">
                  <a:pos x="14" y="0"/>
                </a:cxn>
                <a:cxn ang="0">
                  <a:pos x="19" y="0"/>
                </a:cxn>
                <a:cxn ang="0">
                  <a:pos x="19" y="5"/>
                </a:cxn>
                <a:cxn ang="0">
                  <a:pos x="16" y="4"/>
                </a:cxn>
                <a:cxn ang="0">
                  <a:pos x="5" y="17"/>
                </a:cxn>
                <a:cxn ang="0">
                  <a:pos x="5" y="41"/>
                </a:cxn>
              </a:cxnLst>
              <a:rect l="0" t="0" r="r" b="b"/>
              <a:pathLst>
                <a:path w="19" h="41">
                  <a:moveTo>
                    <a:pt x="5" y="41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7"/>
                    <a:pt x="0" y="4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7" y="3"/>
                    <a:pt x="10" y="0"/>
                    <a:pt x="14" y="0"/>
                  </a:cubicBezTo>
                  <a:cubicBezTo>
                    <a:pt x="16" y="0"/>
                    <a:pt x="18" y="0"/>
                    <a:pt x="19" y="0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7" y="4"/>
                    <a:pt x="16" y="4"/>
                  </a:cubicBezTo>
                  <a:cubicBezTo>
                    <a:pt x="9" y="4"/>
                    <a:pt x="5" y="9"/>
                    <a:pt x="5" y="17"/>
                  </a:cubicBezTo>
                  <a:lnTo>
                    <a:pt x="5" y="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39"/>
              <a:endParaRPr lang="en-GB" sz="2489">
                <a:solidFill>
                  <a:prstClr val="black"/>
                </a:solidFill>
              </a:endParaRPr>
            </a:p>
          </p:txBody>
        </p:sp>
        <p:sp>
          <p:nvSpPr>
            <p:cNvPr id="21" name="Freeform 8"/>
            <p:cNvSpPr>
              <a:spLocks noEditPoints="1"/>
            </p:cNvSpPr>
            <p:nvPr userDrawn="1"/>
          </p:nvSpPr>
          <p:spPr bwMode="auto">
            <a:xfrm>
              <a:off x="583" y="1397"/>
              <a:ext cx="255" cy="305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19" y="38"/>
                </a:cxn>
                <a:cxn ang="0">
                  <a:pos x="30" y="29"/>
                </a:cxn>
                <a:cxn ang="0">
                  <a:pos x="36" y="29"/>
                </a:cxn>
                <a:cxn ang="0">
                  <a:pos x="17" y="43"/>
                </a:cxn>
                <a:cxn ang="0">
                  <a:pos x="0" y="21"/>
                </a:cxn>
                <a:cxn ang="0">
                  <a:pos x="18" y="0"/>
                </a:cxn>
                <a:cxn ang="0">
                  <a:pos x="36" y="22"/>
                </a:cxn>
                <a:cxn ang="0">
                  <a:pos x="5" y="22"/>
                </a:cxn>
                <a:cxn ang="0">
                  <a:pos x="31" y="18"/>
                </a:cxn>
                <a:cxn ang="0">
                  <a:pos x="18" y="4"/>
                </a:cxn>
                <a:cxn ang="0">
                  <a:pos x="5" y="18"/>
                </a:cxn>
                <a:cxn ang="0">
                  <a:pos x="31" y="18"/>
                </a:cxn>
              </a:cxnLst>
              <a:rect l="0" t="0" r="r" b="b"/>
              <a:pathLst>
                <a:path w="36" h="43">
                  <a:moveTo>
                    <a:pt x="5" y="22"/>
                  </a:moveTo>
                  <a:cubicBezTo>
                    <a:pt x="5" y="31"/>
                    <a:pt x="9" y="38"/>
                    <a:pt x="19" y="38"/>
                  </a:cubicBezTo>
                  <a:cubicBezTo>
                    <a:pt x="25" y="38"/>
                    <a:pt x="29" y="34"/>
                    <a:pt x="30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3" y="38"/>
                    <a:pt x="27" y="43"/>
                    <a:pt x="17" y="43"/>
                  </a:cubicBezTo>
                  <a:cubicBezTo>
                    <a:pt x="5" y="43"/>
                    <a:pt x="0" y="32"/>
                    <a:pt x="0" y="21"/>
                  </a:cubicBezTo>
                  <a:cubicBezTo>
                    <a:pt x="0" y="10"/>
                    <a:pt x="6" y="0"/>
                    <a:pt x="18" y="0"/>
                  </a:cubicBezTo>
                  <a:cubicBezTo>
                    <a:pt x="31" y="0"/>
                    <a:pt x="36" y="10"/>
                    <a:pt x="36" y="22"/>
                  </a:cubicBezTo>
                  <a:lnTo>
                    <a:pt x="5" y="22"/>
                  </a:lnTo>
                  <a:close/>
                  <a:moveTo>
                    <a:pt x="31" y="18"/>
                  </a:moveTo>
                  <a:cubicBezTo>
                    <a:pt x="30" y="10"/>
                    <a:pt x="26" y="4"/>
                    <a:pt x="18" y="4"/>
                  </a:cubicBezTo>
                  <a:cubicBezTo>
                    <a:pt x="10" y="4"/>
                    <a:pt x="6" y="11"/>
                    <a:pt x="5" y="18"/>
                  </a:cubicBezTo>
                  <a:lnTo>
                    <a:pt x="31" y="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39"/>
              <a:endParaRPr lang="en-GB" sz="2489">
                <a:solidFill>
                  <a:prstClr val="black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895" y="1397"/>
              <a:ext cx="262" cy="305"/>
            </a:xfrm>
            <a:custGeom>
              <a:avLst/>
              <a:gdLst/>
              <a:ahLst/>
              <a:cxnLst>
                <a:cxn ang="0">
                  <a:pos x="6" y="22"/>
                </a:cxn>
                <a:cxn ang="0">
                  <a:pos x="20" y="38"/>
                </a:cxn>
                <a:cxn ang="0">
                  <a:pos x="31" y="29"/>
                </a:cxn>
                <a:cxn ang="0">
                  <a:pos x="36" y="29"/>
                </a:cxn>
                <a:cxn ang="0">
                  <a:pos x="18" y="43"/>
                </a:cxn>
                <a:cxn ang="0">
                  <a:pos x="0" y="21"/>
                </a:cxn>
                <a:cxn ang="0">
                  <a:pos x="18" y="0"/>
                </a:cxn>
                <a:cxn ang="0">
                  <a:pos x="37" y="22"/>
                </a:cxn>
                <a:cxn ang="0">
                  <a:pos x="6" y="22"/>
                </a:cxn>
                <a:cxn ang="0">
                  <a:pos x="32" y="18"/>
                </a:cxn>
                <a:cxn ang="0">
                  <a:pos x="18" y="4"/>
                </a:cxn>
                <a:cxn ang="0">
                  <a:pos x="6" y="18"/>
                </a:cxn>
                <a:cxn ang="0">
                  <a:pos x="32" y="18"/>
                </a:cxn>
              </a:cxnLst>
              <a:rect l="0" t="0" r="r" b="b"/>
              <a:pathLst>
                <a:path w="37" h="43">
                  <a:moveTo>
                    <a:pt x="6" y="22"/>
                  </a:moveTo>
                  <a:cubicBezTo>
                    <a:pt x="6" y="31"/>
                    <a:pt x="10" y="38"/>
                    <a:pt x="20" y="38"/>
                  </a:cubicBezTo>
                  <a:cubicBezTo>
                    <a:pt x="25" y="38"/>
                    <a:pt x="30" y="34"/>
                    <a:pt x="31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4" y="38"/>
                    <a:pt x="28" y="43"/>
                    <a:pt x="18" y="43"/>
                  </a:cubicBezTo>
                  <a:cubicBezTo>
                    <a:pt x="6" y="43"/>
                    <a:pt x="0" y="32"/>
                    <a:pt x="0" y="21"/>
                  </a:cubicBezTo>
                  <a:cubicBezTo>
                    <a:pt x="0" y="10"/>
                    <a:pt x="6" y="0"/>
                    <a:pt x="18" y="0"/>
                  </a:cubicBezTo>
                  <a:cubicBezTo>
                    <a:pt x="32" y="0"/>
                    <a:pt x="37" y="10"/>
                    <a:pt x="37" y="22"/>
                  </a:cubicBezTo>
                  <a:lnTo>
                    <a:pt x="6" y="22"/>
                  </a:lnTo>
                  <a:close/>
                  <a:moveTo>
                    <a:pt x="32" y="18"/>
                  </a:moveTo>
                  <a:cubicBezTo>
                    <a:pt x="31" y="10"/>
                    <a:pt x="27" y="4"/>
                    <a:pt x="18" y="4"/>
                  </a:cubicBezTo>
                  <a:cubicBezTo>
                    <a:pt x="11" y="4"/>
                    <a:pt x="6" y="11"/>
                    <a:pt x="6" y="18"/>
                  </a:cubicBezTo>
                  <a:lnTo>
                    <a:pt x="32" y="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39"/>
              <a:endParaRPr lang="en-GB" sz="2489">
                <a:solidFill>
                  <a:prstClr val="black"/>
                </a:solidFill>
              </a:endParaRPr>
            </a:p>
          </p:txBody>
        </p:sp>
        <p:sp>
          <p:nvSpPr>
            <p:cNvPr id="23" name="Freeform 10"/>
            <p:cNvSpPr>
              <a:spLocks/>
            </p:cNvSpPr>
            <p:nvPr userDrawn="1"/>
          </p:nvSpPr>
          <p:spPr bwMode="auto">
            <a:xfrm>
              <a:off x="1228" y="1397"/>
              <a:ext cx="227" cy="291"/>
            </a:xfrm>
            <a:custGeom>
              <a:avLst/>
              <a:gdLst/>
              <a:ahLst/>
              <a:cxnLst>
                <a:cxn ang="0">
                  <a:pos x="5" y="41"/>
                </a:cxn>
                <a:cxn ang="0">
                  <a:pos x="1" y="41"/>
                </a:cxn>
                <a:cxn ang="0">
                  <a:pos x="1" y="10"/>
                </a:cxn>
                <a:cxn ang="0">
                  <a:pos x="0" y="1"/>
                </a:cxn>
                <a:cxn ang="0">
                  <a:pos x="5" y="1"/>
                </a:cxn>
                <a:cxn ang="0">
                  <a:pos x="5" y="7"/>
                </a:cxn>
                <a:cxn ang="0">
                  <a:pos x="5" y="7"/>
                </a:cxn>
                <a:cxn ang="0">
                  <a:pos x="18" y="0"/>
                </a:cxn>
                <a:cxn ang="0">
                  <a:pos x="32" y="16"/>
                </a:cxn>
                <a:cxn ang="0">
                  <a:pos x="32" y="41"/>
                </a:cxn>
                <a:cxn ang="0">
                  <a:pos x="28" y="41"/>
                </a:cxn>
                <a:cxn ang="0">
                  <a:pos x="28" y="15"/>
                </a:cxn>
                <a:cxn ang="0">
                  <a:pos x="17" y="4"/>
                </a:cxn>
                <a:cxn ang="0">
                  <a:pos x="5" y="18"/>
                </a:cxn>
                <a:cxn ang="0">
                  <a:pos x="5" y="41"/>
                </a:cxn>
              </a:cxnLst>
              <a:rect l="0" t="0" r="r" b="b"/>
              <a:pathLst>
                <a:path w="32" h="41">
                  <a:moveTo>
                    <a:pt x="5" y="41"/>
                  </a:moveTo>
                  <a:cubicBezTo>
                    <a:pt x="1" y="41"/>
                    <a:pt x="1" y="41"/>
                    <a:pt x="1" y="41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7"/>
                    <a:pt x="0" y="4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8" y="2"/>
                    <a:pt x="13" y="0"/>
                    <a:pt x="18" y="0"/>
                  </a:cubicBezTo>
                  <a:cubicBezTo>
                    <a:pt x="31" y="0"/>
                    <a:pt x="32" y="12"/>
                    <a:pt x="32" y="16"/>
                  </a:cubicBezTo>
                  <a:cubicBezTo>
                    <a:pt x="32" y="41"/>
                    <a:pt x="32" y="41"/>
                    <a:pt x="32" y="4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8"/>
                    <a:pt x="24" y="4"/>
                    <a:pt x="17" y="4"/>
                  </a:cubicBezTo>
                  <a:cubicBezTo>
                    <a:pt x="9" y="4"/>
                    <a:pt x="5" y="11"/>
                    <a:pt x="5" y="18"/>
                  </a:cubicBezTo>
                  <a:lnTo>
                    <a:pt x="5" y="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39"/>
              <a:endParaRPr lang="en-GB" sz="2489">
                <a:solidFill>
                  <a:prstClr val="black"/>
                </a:solidFill>
              </a:endParaRPr>
            </a:p>
          </p:txBody>
        </p:sp>
        <p:sp>
          <p:nvSpPr>
            <p:cNvPr id="24" name="Freeform 11"/>
            <p:cNvSpPr>
              <a:spLocks noEditPoints="1"/>
            </p:cNvSpPr>
            <p:nvPr userDrawn="1"/>
          </p:nvSpPr>
          <p:spPr bwMode="auto">
            <a:xfrm>
              <a:off x="1717" y="1277"/>
              <a:ext cx="276" cy="411"/>
            </a:xfrm>
            <a:custGeom>
              <a:avLst/>
              <a:gdLst/>
              <a:ahLst/>
              <a:cxnLst>
                <a:cxn ang="0">
                  <a:pos x="0" y="58"/>
                </a:cxn>
                <a:cxn ang="0">
                  <a:pos x="0" y="0"/>
                </a:cxn>
                <a:cxn ang="0">
                  <a:pos x="15" y="0"/>
                </a:cxn>
                <a:cxn ang="0">
                  <a:pos x="39" y="17"/>
                </a:cxn>
                <a:cxn ang="0">
                  <a:pos x="15" y="33"/>
                </a:cxn>
                <a:cxn ang="0">
                  <a:pos x="5" y="33"/>
                </a:cxn>
                <a:cxn ang="0">
                  <a:pos x="5" y="58"/>
                </a:cxn>
                <a:cxn ang="0">
                  <a:pos x="0" y="58"/>
                </a:cxn>
                <a:cxn ang="0">
                  <a:pos x="5" y="28"/>
                </a:cxn>
                <a:cxn ang="0">
                  <a:pos x="18" y="28"/>
                </a:cxn>
                <a:cxn ang="0">
                  <a:pos x="33" y="17"/>
                </a:cxn>
                <a:cxn ang="0">
                  <a:pos x="18" y="5"/>
                </a:cxn>
                <a:cxn ang="0">
                  <a:pos x="5" y="5"/>
                </a:cxn>
                <a:cxn ang="0">
                  <a:pos x="5" y="28"/>
                </a:cxn>
              </a:cxnLst>
              <a:rect l="0" t="0" r="r" b="b"/>
              <a:pathLst>
                <a:path w="39" h="58">
                  <a:moveTo>
                    <a:pt x="0" y="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6" y="0"/>
                    <a:pt x="39" y="3"/>
                    <a:pt x="39" y="17"/>
                  </a:cubicBezTo>
                  <a:cubicBezTo>
                    <a:pt x="39" y="31"/>
                    <a:pt x="26" y="33"/>
                    <a:pt x="1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58"/>
                    <a:pt x="5" y="58"/>
                    <a:pt x="5" y="58"/>
                  </a:cubicBezTo>
                  <a:lnTo>
                    <a:pt x="0" y="58"/>
                  </a:lnTo>
                  <a:close/>
                  <a:moveTo>
                    <a:pt x="5" y="28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26" y="28"/>
                    <a:pt x="33" y="26"/>
                    <a:pt x="33" y="17"/>
                  </a:cubicBezTo>
                  <a:cubicBezTo>
                    <a:pt x="33" y="8"/>
                    <a:pt x="26" y="5"/>
                    <a:pt x="18" y="5"/>
                  </a:cubicBezTo>
                  <a:cubicBezTo>
                    <a:pt x="5" y="5"/>
                    <a:pt x="5" y="5"/>
                    <a:pt x="5" y="5"/>
                  </a:cubicBezTo>
                  <a:lnTo>
                    <a:pt x="5" y="2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39"/>
              <a:endParaRPr lang="en-GB" sz="2489">
                <a:solidFill>
                  <a:prstClr val="black"/>
                </a:solidFill>
              </a:endParaRPr>
            </a:p>
          </p:txBody>
        </p:sp>
        <p:sp>
          <p:nvSpPr>
            <p:cNvPr id="25" name="Freeform 12"/>
            <p:cNvSpPr>
              <a:spLocks noEditPoints="1"/>
            </p:cNvSpPr>
            <p:nvPr userDrawn="1"/>
          </p:nvSpPr>
          <p:spPr bwMode="auto">
            <a:xfrm>
              <a:off x="2001" y="1397"/>
              <a:ext cx="269" cy="305"/>
            </a:xfrm>
            <a:custGeom>
              <a:avLst/>
              <a:gdLst/>
              <a:ahLst/>
              <a:cxnLst>
                <a:cxn ang="0">
                  <a:pos x="38" y="21"/>
                </a:cxn>
                <a:cxn ang="0">
                  <a:pos x="19" y="43"/>
                </a:cxn>
                <a:cxn ang="0">
                  <a:pos x="0" y="21"/>
                </a:cxn>
                <a:cxn ang="0">
                  <a:pos x="19" y="0"/>
                </a:cxn>
                <a:cxn ang="0">
                  <a:pos x="38" y="21"/>
                </a:cxn>
                <a:cxn ang="0">
                  <a:pos x="19" y="4"/>
                </a:cxn>
                <a:cxn ang="0">
                  <a:pos x="6" y="21"/>
                </a:cxn>
                <a:cxn ang="0">
                  <a:pos x="19" y="38"/>
                </a:cxn>
                <a:cxn ang="0">
                  <a:pos x="33" y="21"/>
                </a:cxn>
                <a:cxn ang="0">
                  <a:pos x="19" y="4"/>
                </a:cxn>
              </a:cxnLst>
              <a:rect l="0" t="0" r="r" b="b"/>
              <a:pathLst>
                <a:path w="38" h="43">
                  <a:moveTo>
                    <a:pt x="38" y="21"/>
                  </a:moveTo>
                  <a:cubicBezTo>
                    <a:pt x="38" y="32"/>
                    <a:pt x="32" y="43"/>
                    <a:pt x="19" y="43"/>
                  </a:cubicBezTo>
                  <a:cubicBezTo>
                    <a:pt x="6" y="43"/>
                    <a:pt x="0" y="32"/>
                    <a:pt x="0" y="21"/>
                  </a:cubicBezTo>
                  <a:cubicBezTo>
                    <a:pt x="0" y="11"/>
                    <a:pt x="6" y="0"/>
                    <a:pt x="19" y="0"/>
                  </a:cubicBezTo>
                  <a:cubicBezTo>
                    <a:pt x="32" y="0"/>
                    <a:pt x="38" y="11"/>
                    <a:pt x="38" y="21"/>
                  </a:cubicBezTo>
                  <a:close/>
                  <a:moveTo>
                    <a:pt x="19" y="4"/>
                  </a:moveTo>
                  <a:cubicBezTo>
                    <a:pt x="10" y="4"/>
                    <a:pt x="6" y="14"/>
                    <a:pt x="6" y="21"/>
                  </a:cubicBezTo>
                  <a:cubicBezTo>
                    <a:pt x="6" y="29"/>
                    <a:pt x="10" y="38"/>
                    <a:pt x="19" y="38"/>
                  </a:cubicBezTo>
                  <a:cubicBezTo>
                    <a:pt x="29" y="38"/>
                    <a:pt x="33" y="29"/>
                    <a:pt x="33" y="21"/>
                  </a:cubicBezTo>
                  <a:cubicBezTo>
                    <a:pt x="33" y="14"/>
                    <a:pt x="29" y="4"/>
                    <a:pt x="19" y="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39"/>
              <a:endParaRPr lang="en-GB" sz="2489">
                <a:solidFill>
                  <a:prstClr val="black"/>
                </a:solidFill>
              </a:endParaRPr>
            </a:p>
          </p:txBody>
        </p:sp>
        <p:sp>
          <p:nvSpPr>
            <p:cNvPr id="26" name="Freeform 13"/>
            <p:cNvSpPr>
              <a:spLocks/>
            </p:cNvSpPr>
            <p:nvPr userDrawn="1"/>
          </p:nvSpPr>
          <p:spPr bwMode="auto">
            <a:xfrm>
              <a:off x="2291" y="1404"/>
              <a:ext cx="461" cy="284"/>
            </a:xfrm>
            <a:custGeom>
              <a:avLst/>
              <a:gdLst/>
              <a:ahLst/>
              <a:cxnLst>
                <a:cxn ang="0">
                  <a:pos x="128" y="241"/>
                </a:cxn>
                <a:cxn ang="0">
                  <a:pos x="128" y="241"/>
                </a:cxn>
                <a:cxn ang="0">
                  <a:pos x="213" y="0"/>
                </a:cxn>
                <a:cxn ang="0">
                  <a:pos x="255" y="0"/>
                </a:cxn>
                <a:cxn ang="0">
                  <a:pos x="340" y="241"/>
                </a:cxn>
                <a:cxn ang="0">
                  <a:pos x="340" y="241"/>
                </a:cxn>
                <a:cxn ang="0">
                  <a:pos x="425" y="0"/>
                </a:cxn>
                <a:cxn ang="0">
                  <a:pos x="461" y="0"/>
                </a:cxn>
                <a:cxn ang="0">
                  <a:pos x="354" y="284"/>
                </a:cxn>
                <a:cxn ang="0">
                  <a:pos x="319" y="284"/>
                </a:cxn>
                <a:cxn ang="0">
                  <a:pos x="234" y="43"/>
                </a:cxn>
                <a:cxn ang="0">
                  <a:pos x="234" y="43"/>
                </a:cxn>
                <a:cxn ang="0">
                  <a:pos x="142" y="284"/>
                </a:cxn>
                <a:cxn ang="0">
                  <a:pos x="106" y="284"/>
                </a:cxn>
                <a:cxn ang="0">
                  <a:pos x="0" y="0"/>
                </a:cxn>
                <a:cxn ang="0">
                  <a:pos x="43" y="0"/>
                </a:cxn>
                <a:cxn ang="0">
                  <a:pos x="128" y="241"/>
                </a:cxn>
              </a:cxnLst>
              <a:rect l="0" t="0" r="r" b="b"/>
              <a:pathLst>
                <a:path w="461" h="284">
                  <a:moveTo>
                    <a:pt x="128" y="241"/>
                  </a:moveTo>
                  <a:lnTo>
                    <a:pt x="128" y="241"/>
                  </a:lnTo>
                  <a:lnTo>
                    <a:pt x="213" y="0"/>
                  </a:lnTo>
                  <a:lnTo>
                    <a:pt x="255" y="0"/>
                  </a:lnTo>
                  <a:lnTo>
                    <a:pt x="340" y="241"/>
                  </a:lnTo>
                  <a:lnTo>
                    <a:pt x="340" y="241"/>
                  </a:lnTo>
                  <a:lnTo>
                    <a:pt x="425" y="0"/>
                  </a:lnTo>
                  <a:lnTo>
                    <a:pt x="461" y="0"/>
                  </a:lnTo>
                  <a:lnTo>
                    <a:pt x="354" y="284"/>
                  </a:lnTo>
                  <a:lnTo>
                    <a:pt x="319" y="284"/>
                  </a:lnTo>
                  <a:lnTo>
                    <a:pt x="234" y="43"/>
                  </a:lnTo>
                  <a:lnTo>
                    <a:pt x="234" y="43"/>
                  </a:lnTo>
                  <a:lnTo>
                    <a:pt x="142" y="284"/>
                  </a:lnTo>
                  <a:lnTo>
                    <a:pt x="106" y="284"/>
                  </a:lnTo>
                  <a:lnTo>
                    <a:pt x="0" y="0"/>
                  </a:lnTo>
                  <a:lnTo>
                    <a:pt x="43" y="0"/>
                  </a:lnTo>
                  <a:lnTo>
                    <a:pt x="128" y="2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39"/>
              <a:endParaRPr lang="en-GB" sz="2489">
                <a:solidFill>
                  <a:prstClr val="black"/>
                </a:solidFill>
              </a:endParaRPr>
            </a:p>
          </p:txBody>
        </p:sp>
        <p:sp>
          <p:nvSpPr>
            <p:cNvPr id="27" name="Freeform 14"/>
            <p:cNvSpPr>
              <a:spLocks noEditPoints="1"/>
            </p:cNvSpPr>
            <p:nvPr userDrawn="1"/>
          </p:nvSpPr>
          <p:spPr bwMode="auto">
            <a:xfrm>
              <a:off x="2780" y="1397"/>
              <a:ext cx="255" cy="305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19" y="38"/>
                </a:cxn>
                <a:cxn ang="0">
                  <a:pos x="30" y="29"/>
                </a:cxn>
                <a:cxn ang="0">
                  <a:pos x="35" y="29"/>
                </a:cxn>
                <a:cxn ang="0">
                  <a:pos x="17" y="43"/>
                </a:cxn>
                <a:cxn ang="0">
                  <a:pos x="0" y="21"/>
                </a:cxn>
                <a:cxn ang="0">
                  <a:pos x="18" y="0"/>
                </a:cxn>
                <a:cxn ang="0">
                  <a:pos x="36" y="22"/>
                </a:cxn>
                <a:cxn ang="0">
                  <a:pos x="5" y="22"/>
                </a:cxn>
                <a:cxn ang="0">
                  <a:pos x="31" y="18"/>
                </a:cxn>
                <a:cxn ang="0">
                  <a:pos x="18" y="4"/>
                </a:cxn>
                <a:cxn ang="0">
                  <a:pos x="5" y="18"/>
                </a:cxn>
                <a:cxn ang="0">
                  <a:pos x="31" y="18"/>
                </a:cxn>
              </a:cxnLst>
              <a:rect l="0" t="0" r="r" b="b"/>
              <a:pathLst>
                <a:path w="36" h="43">
                  <a:moveTo>
                    <a:pt x="5" y="22"/>
                  </a:moveTo>
                  <a:cubicBezTo>
                    <a:pt x="5" y="31"/>
                    <a:pt x="9" y="38"/>
                    <a:pt x="19" y="38"/>
                  </a:cubicBezTo>
                  <a:cubicBezTo>
                    <a:pt x="24" y="38"/>
                    <a:pt x="29" y="34"/>
                    <a:pt x="30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3" y="38"/>
                    <a:pt x="27" y="43"/>
                    <a:pt x="17" y="43"/>
                  </a:cubicBezTo>
                  <a:cubicBezTo>
                    <a:pt x="5" y="43"/>
                    <a:pt x="0" y="32"/>
                    <a:pt x="0" y="21"/>
                  </a:cubicBezTo>
                  <a:cubicBezTo>
                    <a:pt x="0" y="10"/>
                    <a:pt x="6" y="0"/>
                    <a:pt x="18" y="0"/>
                  </a:cubicBezTo>
                  <a:cubicBezTo>
                    <a:pt x="31" y="0"/>
                    <a:pt x="36" y="10"/>
                    <a:pt x="36" y="22"/>
                  </a:cubicBezTo>
                  <a:lnTo>
                    <a:pt x="5" y="22"/>
                  </a:lnTo>
                  <a:close/>
                  <a:moveTo>
                    <a:pt x="31" y="18"/>
                  </a:moveTo>
                  <a:cubicBezTo>
                    <a:pt x="30" y="10"/>
                    <a:pt x="26" y="4"/>
                    <a:pt x="18" y="4"/>
                  </a:cubicBezTo>
                  <a:cubicBezTo>
                    <a:pt x="10" y="4"/>
                    <a:pt x="6" y="11"/>
                    <a:pt x="5" y="18"/>
                  </a:cubicBezTo>
                  <a:lnTo>
                    <a:pt x="31" y="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39"/>
              <a:endParaRPr lang="en-GB" sz="2489">
                <a:solidFill>
                  <a:prstClr val="black"/>
                </a:solidFill>
              </a:endParaRPr>
            </a:p>
          </p:txBody>
        </p:sp>
        <p:sp>
          <p:nvSpPr>
            <p:cNvPr id="28" name="Freeform 15"/>
            <p:cNvSpPr>
              <a:spLocks/>
            </p:cNvSpPr>
            <p:nvPr userDrawn="1"/>
          </p:nvSpPr>
          <p:spPr bwMode="auto">
            <a:xfrm>
              <a:off x="3106" y="1397"/>
              <a:ext cx="142" cy="291"/>
            </a:xfrm>
            <a:custGeom>
              <a:avLst/>
              <a:gdLst/>
              <a:ahLst/>
              <a:cxnLst>
                <a:cxn ang="0">
                  <a:pos x="6" y="41"/>
                </a:cxn>
                <a:cxn ang="0">
                  <a:pos x="1" y="41"/>
                </a:cxn>
                <a:cxn ang="0">
                  <a:pos x="1" y="10"/>
                </a:cxn>
                <a:cxn ang="0">
                  <a:pos x="0" y="1"/>
                </a:cxn>
                <a:cxn ang="0">
                  <a:pos x="5" y="1"/>
                </a:cxn>
                <a:cxn ang="0">
                  <a:pos x="6" y="7"/>
                </a:cxn>
                <a:cxn ang="0">
                  <a:pos x="6" y="7"/>
                </a:cxn>
                <a:cxn ang="0">
                  <a:pos x="15" y="0"/>
                </a:cxn>
                <a:cxn ang="0">
                  <a:pos x="20" y="0"/>
                </a:cxn>
                <a:cxn ang="0">
                  <a:pos x="20" y="5"/>
                </a:cxn>
                <a:cxn ang="0">
                  <a:pos x="17" y="4"/>
                </a:cxn>
                <a:cxn ang="0">
                  <a:pos x="6" y="17"/>
                </a:cxn>
                <a:cxn ang="0">
                  <a:pos x="6" y="41"/>
                </a:cxn>
              </a:cxnLst>
              <a:rect l="0" t="0" r="r" b="b"/>
              <a:pathLst>
                <a:path w="20" h="41">
                  <a:moveTo>
                    <a:pt x="6" y="41"/>
                  </a:moveTo>
                  <a:cubicBezTo>
                    <a:pt x="1" y="41"/>
                    <a:pt x="1" y="41"/>
                    <a:pt x="1" y="41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7"/>
                    <a:pt x="0" y="4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3"/>
                    <a:pt x="11" y="0"/>
                    <a:pt x="15" y="0"/>
                  </a:cubicBezTo>
                  <a:cubicBezTo>
                    <a:pt x="16" y="0"/>
                    <a:pt x="18" y="0"/>
                    <a:pt x="20" y="0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8" y="4"/>
                    <a:pt x="17" y="4"/>
                  </a:cubicBezTo>
                  <a:cubicBezTo>
                    <a:pt x="9" y="4"/>
                    <a:pt x="6" y="9"/>
                    <a:pt x="6" y="17"/>
                  </a:cubicBezTo>
                  <a:lnTo>
                    <a:pt x="6" y="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39"/>
              <a:endParaRPr lang="en-GB" sz="2489">
                <a:solidFill>
                  <a:prstClr val="black"/>
                </a:solidFill>
              </a:endParaRPr>
            </a:p>
          </p:txBody>
        </p:sp>
        <p:sp>
          <p:nvSpPr>
            <p:cNvPr id="29" name="Freeform 16"/>
            <p:cNvSpPr>
              <a:spLocks/>
            </p:cNvSpPr>
            <p:nvPr userDrawn="1"/>
          </p:nvSpPr>
          <p:spPr bwMode="auto">
            <a:xfrm>
              <a:off x="753" y="-1197"/>
              <a:ext cx="1914" cy="1928"/>
            </a:xfrm>
            <a:custGeom>
              <a:avLst/>
              <a:gdLst/>
              <a:ahLst/>
              <a:cxnLst>
                <a:cxn ang="0">
                  <a:pos x="270" y="113"/>
                </a:cxn>
                <a:cxn ang="0">
                  <a:pos x="136" y="0"/>
                </a:cxn>
                <a:cxn ang="0">
                  <a:pos x="0" y="136"/>
                </a:cxn>
                <a:cxn ang="0">
                  <a:pos x="136" y="272"/>
                </a:cxn>
                <a:cxn ang="0">
                  <a:pos x="244" y="219"/>
                </a:cxn>
                <a:cxn ang="0">
                  <a:pos x="212" y="194"/>
                </a:cxn>
                <a:cxn ang="0">
                  <a:pos x="136" y="232"/>
                </a:cxn>
                <a:cxn ang="0">
                  <a:pos x="40" y="136"/>
                </a:cxn>
                <a:cxn ang="0">
                  <a:pos x="136" y="41"/>
                </a:cxn>
                <a:cxn ang="0">
                  <a:pos x="229" y="113"/>
                </a:cxn>
                <a:cxn ang="0">
                  <a:pos x="128" y="113"/>
                </a:cxn>
                <a:cxn ang="0">
                  <a:pos x="128" y="153"/>
                </a:cxn>
                <a:cxn ang="0">
                  <a:pos x="270" y="153"/>
                </a:cxn>
                <a:cxn ang="0">
                  <a:pos x="270" y="113"/>
                </a:cxn>
              </a:cxnLst>
              <a:rect l="0" t="0" r="r" b="b"/>
              <a:pathLst>
                <a:path w="270" h="272">
                  <a:moveTo>
                    <a:pt x="270" y="113"/>
                  </a:moveTo>
                  <a:cubicBezTo>
                    <a:pt x="259" y="49"/>
                    <a:pt x="203" y="0"/>
                    <a:pt x="136" y="0"/>
                  </a:cubicBezTo>
                  <a:cubicBezTo>
                    <a:pt x="61" y="0"/>
                    <a:pt x="0" y="61"/>
                    <a:pt x="0" y="136"/>
                  </a:cubicBezTo>
                  <a:cubicBezTo>
                    <a:pt x="0" y="211"/>
                    <a:pt x="61" y="272"/>
                    <a:pt x="136" y="272"/>
                  </a:cubicBezTo>
                  <a:cubicBezTo>
                    <a:pt x="180" y="272"/>
                    <a:pt x="219" y="251"/>
                    <a:pt x="244" y="219"/>
                  </a:cubicBezTo>
                  <a:cubicBezTo>
                    <a:pt x="212" y="194"/>
                    <a:pt x="212" y="194"/>
                    <a:pt x="212" y="194"/>
                  </a:cubicBezTo>
                  <a:cubicBezTo>
                    <a:pt x="194" y="217"/>
                    <a:pt x="167" y="232"/>
                    <a:pt x="136" y="232"/>
                  </a:cubicBezTo>
                  <a:cubicBezTo>
                    <a:pt x="83" y="232"/>
                    <a:pt x="40" y="189"/>
                    <a:pt x="40" y="136"/>
                  </a:cubicBezTo>
                  <a:cubicBezTo>
                    <a:pt x="40" y="84"/>
                    <a:pt x="83" y="41"/>
                    <a:pt x="136" y="41"/>
                  </a:cubicBezTo>
                  <a:cubicBezTo>
                    <a:pt x="180" y="41"/>
                    <a:pt x="218" y="71"/>
                    <a:pt x="229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270" y="153"/>
                    <a:pt x="270" y="153"/>
                    <a:pt x="270" y="153"/>
                  </a:cubicBezTo>
                  <a:lnTo>
                    <a:pt x="270" y="1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39"/>
              <a:endParaRPr lang="en-GB" sz="2489">
                <a:solidFill>
                  <a:prstClr val="black"/>
                </a:solidFill>
              </a:endParaRPr>
            </a:p>
          </p:txBody>
        </p:sp>
        <p:sp>
          <p:nvSpPr>
            <p:cNvPr id="30" name="Freeform 17"/>
            <p:cNvSpPr>
              <a:spLocks/>
            </p:cNvSpPr>
            <p:nvPr userDrawn="1"/>
          </p:nvSpPr>
          <p:spPr bwMode="auto">
            <a:xfrm>
              <a:off x="-3449" y="-1197"/>
              <a:ext cx="1913" cy="1928"/>
            </a:xfrm>
            <a:custGeom>
              <a:avLst/>
              <a:gdLst/>
              <a:ahLst/>
              <a:cxnLst>
                <a:cxn ang="0">
                  <a:pos x="270" y="113"/>
                </a:cxn>
                <a:cxn ang="0">
                  <a:pos x="136" y="0"/>
                </a:cxn>
                <a:cxn ang="0">
                  <a:pos x="0" y="136"/>
                </a:cxn>
                <a:cxn ang="0">
                  <a:pos x="136" y="272"/>
                </a:cxn>
                <a:cxn ang="0">
                  <a:pos x="244" y="219"/>
                </a:cxn>
                <a:cxn ang="0">
                  <a:pos x="212" y="194"/>
                </a:cxn>
                <a:cxn ang="0">
                  <a:pos x="136" y="232"/>
                </a:cxn>
                <a:cxn ang="0">
                  <a:pos x="41" y="136"/>
                </a:cxn>
                <a:cxn ang="0">
                  <a:pos x="136" y="41"/>
                </a:cxn>
                <a:cxn ang="0">
                  <a:pos x="229" y="113"/>
                </a:cxn>
                <a:cxn ang="0">
                  <a:pos x="128" y="113"/>
                </a:cxn>
                <a:cxn ang="0">
                  <a:pos x="128" y="153"/>
                </a:cxn>
                <a:cxn ang="0">
                  <a:pos x="270" y="153"/>
                </a:cxn>
                <a:cxn ang="0">
                  <a:pos x="270" y="113"/>
                </a:cxn>
              </a:cxnLst>
              <a:rect l="0" t="0" r="r" b="b"/>
              <a:pathLst>
                <a:path w="270" h="272">
                  <a:moveTo>
                    <a:pt x="270" y="113"/>
                  </a:moveTo>
                  <a:cubicBezTo>
                    <a:pt x="259" y="49"/>
                    <a:pt x="203" y="0"/>
                    <a:pt x="136" y="0"/>
                  </a:cubicBezTo>
                  <a:cubicBezTo>
                    <a:pt x="61" y="0"/>
                    <a:pt x="0" y="61"/>
                    <a:pt x="0" y="136"/>
                  </a:cubicBezTo>
                  <a:cubicBezTo>
                    <a:pt x="0" y="211"/>
                    <a:pt x="61" y="272"/>
                    <a:pt x="136" y="272"/>
                  </a:cubicBezTo>
                  <a:cubicBezTo>
                    <a:pt x="180" y="272"/>
                    <a:pt x="219" y="251"/>
                    <a:pt x="244" y="219"/>
                  </a:cubicBezTo>
                  <a:cubicBezTo>
                    <a:pt x="212" y="194"/>
                    <a:pt x="212" y="194"/>
                    <a:pt x="212" y="194"/>
                  </a:cubicBezTo>
                  <a:cubicBezTo>
                    <a:pt x="194" y="217"/>
                    <a:pt x="167" y="232"/>
                    <a:pt x="136" y="232"/>
                  </a:cubicBezTo>
                  <a:cubicBezTo>
                    <a:pt x="83" y="232"/>
                    <a:pt x="41" y="189"/>
                    <a:pt x="41" y="136"/>
                  </a:cubicBezTo>
                  <a:cubicBezTo>
                    <a:pt x="41" y="84"/>
                    <a:pt x="83" y="41"/>
                    <a:pt x="136" y="41"/>
                  </a:cubicBezTo>
                  <a:cubicBezTo>
                    <a:pt x="181" y="41"/>
                    <a:pt x="218" y="71"/>
                    <a:pt x="229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270" y="153"/>
                    <a:pt x="270" y="153"/>
                    <a:pt x="270" y="153"/>
                  </a:cubicBezTo>
                  <a:lnTo>
                    <a:pt x="270" y="1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39"/>
              <a:endParaRPr lang="en-GB" sz="2489">
                <a:solidFill>
                  <a:prstClr val="black"/>
                </a:solidFill>
              </a:endParaRPr>
            </a:p>
          </p:txBody>
        </p:sp>
        <p:sp>
          <p:nvSpPr>
            <p:cNvPr id="31" name="Freeform 18"/>
            <p:cNvSpPr>
              <a:spLocks/>
            </p:cNvSpPr>
            <p:nvPr userDrawn="1"/>
          </p:nvSpPr>
          <p:spPr bwMode="auto">
            <a:xfrm>
              <a:off x="2957" y="-1785"/>
              <a:ext cx="553" cy="2516"/>
            </a:xfrm>
            <a:custGeom>
              <a:avLst/>
              <a:gdLst/>
              <a:ahLst/>
              <a:cxnLst>
                <a:cxn ang="0">
                  <a:pos x="40" y="264"/>
                </a:cxn>
                <a:cxn ang="0">
                  <a:pos x="40" y="0"/>
                </a:cxn>
                <a:cxn ang="0">
                  <a:pos x="0" y="0"/>
                </a:cxn>
                <a:cxn ang="0">
                  <a:pos x="0" y="264"/>
                </a:cxn>
                <a:cxn ang="0">
                  <a:pos x="54" y="355"/>
                </a:cxn>
                <a:cxn ang="0">
                  <a:pos x="78" y="322"/>
                </a:cxn>
                <a:cxn ang="0">
                  <a:pos x="40" y="264"/>
                </a:cxn>
              </a:cxnLst>
              <a:rect l="0" t="0" r="r" b="b"/>
              <a:pathLst>
                <a:path w="78" h="355">
                  <a:moveTo>
                    <a:pt x="40" y="264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4"/>
                    <a:pt x="0" y="264"/>
                    <a:pt x="0" y="264"/>
                  </a:cubicBezTo>
                  <a:cubicBezTo>
                    <a:pt x="0" y="307"/>
                    <a:pt x="20" y="332"/>
                    <a:pt x="54" y="355"/>
                  </a:cubicBezTo>
                  <a:cubicBezTo>
                    <a:pt x="78" y="322"/>
                    <a:pt x="78" y="322"/>
                    <a:pt x="78" y="322"/>
                  </a:cubicBezTo>
                  <a:cubicBezTo>
                    <a:pt x="54" y="306"/>
                    <a:pt x="40" y="293"/>
                    <a:pt x="40" y="2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39"/>
              <a:endParaRPr lang="en-GB" sz="2489">
                <a:solidFill>
                  <a:prstClr val="black"/>
                </a:solidFill>
              </a:endParaRPr>
            </a:p>
          </p:txBody>
        </p:sp>
        <p:sp>
          <p:nvSpPr>
            <p:cNvPr id="32" name="Freeform 19"/>
            <p:cNvSpPr>
              <a:spLocks/>
            </p:cNvSpPr>
            <p:nvPr userDrawn="1"/>
          </p:nvSpPr>
          <p:spPr bwMode="auto">
            <a:xfrm>
              <a:off x="-1245" y="-1197"/>
              <a:ext cx="1729" cy="1900"/>
            </a:xfrm>
            <a:custGeom>
              <a:avLst/>
              <a:gdLst/>
              <a:ahLst/>
              <a:cxnLst>
                <a:cxn ang="0">
                  <a:pos x="244" y="113"/>
                </a:cxn>
                <a:cxn ang="0">
                  <a:pos x="131" y="0"/>
                </a:cxn>
                <a:cxn ang="0">
                  <a:pos x="41" y="37"/>
                </a:cxn>
                <a:cxn ang="0">
                  <a:pos x="41" y="11"/>
                </a:cxn>
                <a:cxn ang="0">
                  <a:pos x="0" y="11"/>
                </a:cxn>
                <a:cxn ang="0">
                  <a:pos x="0" y="153"/>
                </a:cxn>
                <a:cxn ang="0">
                  <a:pos x="41" y="153"/>
                </a:cxn>
                <a:cxn ang="0">
                  <a:pos x="41" y="120"/>
                </a:cxn>
                <a:cxn ang="0">
                  <a:pos x="131" y="41"/>
                </a:cxn>
                <a:cxn ang="0">
                  <a:pos x="203" y="113"/>
                </a:cxn>
                <a:cxn ang="0">
                  <a:pos x="203" y="268"/>
                </a:cxn>
                <a:cxn ang="0">
                  <a:pos x="244" y="268"/>
                </a:cxn>
                <a:cxn ang="0">
                  <a:pos x="244" y="113"/>
                </a:cxn>
              </a:cxnLst>
              <a:rect l="0" t="0" r="r" b="b"/>
              <a:pathLst>
                <a:path w="244" h="268">
                  <a:moveTo>
                    <a:pt x="244" y="113"/>
                  </a:moveTo>
                  <a:cubicBezTo>
                    <a:pt x="244" y="50"/>
                    <a:pt x="193" y="0"/>
                    <a:pt x="131" y="0"/>
                  </a:cubicBezTo>
                  <a:cubicBezTo>
                    <a:pt x="96" y="0"/>
                    <a:pt x="64" y="14"/>
                    <a:pt x="41" y="37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41" y="153"/>
                    <a:pt x="41" y="153"/>
                    <a:pt x="41" y="153"/>
                  </a:cubicBezTo>
                  <a:cubicBezTo>
                    <a:pt x="41" y="120"/>
                    <a:pt x="41" y="120"/>
                    <a:pt x="41" y="120"/>
                  </a:cubicBezTo>
                  <a:cubicBezTo>
                    <a:pt x="47" y="87"/>
                    <a:pt x="76" y="41"/>
                    <a:pt x="131" y="41"/>
                  </a:cubicBezTo>
                  <a:cubicBezTo>
                    <a:pt x="171" y="41"/>
                    <a:pt x="203" y="72"/>
                    <a:pt x="203" y="113"/>
                  </a:cubicBezTo>
                  <a:cubicBezTo>
                    <a:pt x="203" y="268"/>
                    <a:pt x="203" y="268"/>
                    <a:pt x="203" y="268"/>
                  </a:cubicBezTo>
                  <a:cubicBezTo>
                    <a:pt x="244" y="268"/>
                    <a:pt x="244" y="268"/>
                    <a:pt x="244" y="268"/>
                  </a:cubicBezTo>
                  <a:lnTo>
                    <a:pt x="244" y="1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39"/>
              <a:endParaRPr lang="en-GB" sz="2489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25384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Intestazione sezi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ggetto 1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9158646"/>
              </p:ext>
            </p:ext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60" imgH="360" progId="TCLayout.ActiveDocument.1">
                  <p:embed/>
                </p:oleObj>
              </mc:Choice>
              <mc:Fallback>
                <p:oleObj name="Diapositiva think-cell" r:id="rId4" imgW="360" imgH="360" progId="TCLayout.ActiveDocument.1">
                  <p:embed/>
                  <p:pic>
                    <p:nvPicPr>
                      <p:cNvPr id="15" name="Oggetto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tangolo 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8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itle 9"/>
          <p:cNvSpPr>
            <a:spLocks noGrp="1"/>
          </p:cNvSpPr>
          <p:nvPr>
            <p:ph type="title" hasCustomPrompt="1"/>
          </p:nvPr>
        </p:nvSpPr>
        <p:spPr>
          <a:xfrm>
            <a:off x="2082309" y="615088"/>
            <a:ext cx="5534519" cy="3495811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4800"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</a:p>
        </p:txBody>
      </p:sp>
      <p:grpSp>
        <p:nvGrpSpPr>
          <p:cNvPr id="6" name="Group 1"/>
          <p:cNvGrpSpPr/>
          <p:nvPr/>
        </p:nvGrpSpPr>
        <p:grpSpPr>
          <a:xfrm>
            <a:off x="1013885" y="920773"/>
            <a:ext cx="570224" cy="2736827"/>
            <a:chOff x="760413" y="690580"/>
            <a:chExt cx="544156" cy="2611716"/>
          </a:xfrm>
          <a:gradFill flip="none" rotWithShape="1">
            <a:gsLst>
              <a:gs pos="37000">
                <a:schemeClr val="accent6">
                  <a:lumMod val="40000"/>
                  <a:lumOff val="60000"/>
                </a:schemeClr>
              </a:gs>
              <a:gs pos="46000">
                <a:schemeClr val="accent6">
                  <a:lumMod val="95000"/>
                  <a:lumOff val="5000"/>
                </a:schemeClr>
              </a:gs>
              <a:gs pos="100000">
                <a:schemeClr val="accent6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</p:grpSpPr>
        <p:sp>
          <p:nvSpPr>
            <p:cNvPr id="7" name="Rectangle 7"/>
            <p:cNvSpPr/>
            <p:nvPr userDrawn="1"/>
          </p:nvSpPr>
          <p:spPr>
            <a:xfrm>
              <a:off x="760413" y="690580"/>
              <a:ext cx="544156" cy="188699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/>
            <a:lstStyle/>
            <a:p>
              <a:pPr algn="ctr"/>
              <a:endParaRPr lang="en-GB" sz="2400">
                <a:solidFill>
                  <a:srgbClr val="55BD5A"/>
                </a:solidFill>
              </a:endParaRPr>
            </a:p>
          </p:txBody>
        </p:sp>
        <p:sp>
          <p:nvSpPr>
            <p:cNvPr id="9" name="Rectangle 15"/>
            <p:cNvSpPr/>
            <p:nvPr userDrawn="1"/>
          </p:nvSpPr>
          <p:spPr>
            <a:xfrm>
              <a:off x="760413" y="2565815"/>
              <a:ext cx="544156" cy="736481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>
                <a:solidFill>
                  <a:srgbClr val="55BD5A"/>
                </a:solidFill>
              </a:endParaRPr>
            </a:p>
          </p:txBody>
        </p:sp>
      </p:grpSp>
      <p:grpSp>
        <p:nvGrpSpPr>
          <p:cNvPr id="12" name="Group 5"/>
          <p:cNvGrpSpPr>
            <a:grpSpLocks noChangeAspect="1"/>
          </p:cNvGrpSpPr>
          <p:nvPr/>
        </p:nvGrpSpPr>
        <p:grpSpPr bwMode="auto">
          <a:xfrm>
            <a:off x="10058345" y="626583"/>
            <a:ext cx="1341112" cy="672000"/>
            <a:chOff x="-3449" y="-1785"/>
            <a:chExt cx="6959" cy="3487"/>
          </a:xfrm>
          <a:solidFill>
            <a:schemeClr val="accent6"/>
          </a:solidFill>
        </p:grpSpPr>
        <p:sp>
          <p:nvSpPr>
            <p:cNvPr id="19" name="Freeform 6"/>
            <p:cNvSpPr>
              <a:spLocks/>
            </p:cNvSpPr>
            <p:nvPr userDrawn="1"/>
          </p:nvSpPr>
          <p:spPr bwMode="auto">
            <a:xfrm>
              <a:off x="-12" y="1270"/>
              <a:ext cx="319" cy="432"/>
            </a:xfrm>
            <a:custGeom>
              <a:avLst/>
              <a:gdLst/>
              <a:ahLst/>
              <a:cxnLst>
                <a:cxn ang="0">
                  <a:pos x="45" y="30"/>
                </a:cxn>
                <a:cxn ang="0">
                  <a:pos x="45" y="57"/>
                </a:cxn>
                <a:cxn ang="0">
                  <a:pos x="25" y="61"/>
                </a:cxn>
                <a:cxn ang="0">
                  <a:pos x="0" y="30"/>
                </a:cxn>
                <a:cxn ang="0">
                  <a:pos x="25" y="0"/>
                </a:cxn>
                <a:cxn ang="0">
                  <a:pos x="45" y="16"/>
                </a:cxn>
                <a:cxn ang="0">
                  <a:pos x="39" y="16"/>
                </a:cxn>
                <a:cxn ang="0">
                  <a:pos x="25" y="5"/>
                </a:cxn>
                <a:cxn ang="0">
                  <a:pos x="5" y="30"/>
                </a:cxn>
                <a:cxn ang="0">
                  <a:pos x="27" y="56"/>
                </a:cxn>
                <a:cxn ang="0">
                  <a:pos x="40" y="53"/>
                </a:cxn>
                <a:cxn ang="0">
                  <a:pos x="40" y="35"/>
                </a:cxn>
                <a:cxn ang="0">
                  <a:pos x="26" y="35"/>
                </a:cxn>
                <a:cxn ang="0">
                  <a:pos x="26" y="30"/>
                </a:cxn>
                <a:cxn ang="0">
                  <a:pos x="45" y="30"/>
                </a:cxn>
              </a:cxnLst>
              <a:rect l="0" t="0" r="r" b="b"/>
              <a:pathLst>
                <a:path w="45" h="61">
                  <a:moveTo>
                    <a:pt x="45" y="30"/>
                  </a:moveTo>
                  <a:cubicBezTo>
                    <a:pt x="45" y="57"/>
                    <a:pt x="45" y="57"/>
                    <a:pt x="45" y="57"/>
                  </a:cubicBezTo>
                  <a:cubicBezTo>
                    <a:pt x="38" y="60"/>
                    <a:pt x="32" y="61"/>
                    <a:pt x="25" y="61"/>
                  </a:cubicBezTo>
                  <a:cubicBezTo>
                    <a:pt x="9" y="61"/>
                    <a:pt x="0" y="48"/>
                    <a:pt x="0" y="30"/>
                  </a:cubicBezTo>
                  <a:cubicBezTo>
                    <a:pt x="0" y="15"/>
                    <a:pt x="8" y="0"/>
                    <a:pt x="25" y="0"/>
                  </a:cubicBezTo>
                  <a:cubicBezTo>
                    <a:pt x="34" y="0"/>
                    <a:pt x="44" y="5"/>
                    <a:pt x="45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8"/>
                    <a:pt x="32" y="5"/>
                    <a:pt x="25" y="5"/>
                  </a:cubicBezTo>
                  <a:cubicBezTo>
                    <a:pt x="11" y="5"/>
                    <a:pt x="5" y="18"/>
                    <a:pt x="5" y="30"/>
                  </a:cubicBezTo>
                  <a:cubicBezTo>
                    <a:pt x="5" y="45"/>
                    <a:pt x="12" y="56"/>
                    <a:pt x="27" y="56"/>
                  </a:cubicBezTo>
                  <a:cubicBezTo>
                    <a:pt x="32" y="56"/>
                    <a:pt x="36" y="55"/>
                    <a:pt x="40" y="53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0"/>
                    <a:pt x="26" y="30"/>
                    <a:pt x="26" y="30"/>
                  </a:cubicBezTo>
                  <a:lnTo>
                    <a:pt x="45" y="3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39"/>
              <a:endParaRPr lang="en-GB" sz="2489">
                <a:solidFill>
                  <a:srgbClr val="55BD5A"/>
                </a:solidFill>
              </a:endParaRPr>
            </a:p>
          </p:txBody>
        </p:sp>
        <p:sp>
          <p:nvSpPr>
            <p:cNvPr id="20" name="Freeform 7"/>
            <p:cNvSpPr>
              <a:spLocks/>
            </p:cNvSpPr>
            <p:nvPr userDrawn="1"/>
          </p:nvSpPr>
          <p:spPr bwMode="auto">
            <a:xfrm>
              <a:off x="406" y="1397"/>
              <a:ext cx="135" cy="291"/>
            </a:xfrm>
            <a:custGeom>
              <a:avLst/>
              <a:gdLst/>
              <a:ahLst/>
              <a:cxnLst>
                <a:cxn ang="0">
                  <a:pos x="5" y="41"/>
                </a:cxn>
                <a:cxn ang="0">
                  <a:pos x="0" y="41"/>
                </a:cxn>
                <a:cxn ang="0">
                  <a:pos x="0" y="10"/>
                </a:cxn>
                <a:cxn ang="0">
                  <a:pos x="0" y="1"/>
                </a:cxn>
                <a:cxn ang="0">
                  <a:pos x="5" y="1"/>
                </a:cxn>
                <a:cxn ang="0">
                  <a:pos x="5" y="7"/>
                </a:cxn>
                <a:cxn ang="0">
                  <a:pos x="5" y="7"/>
                </a:cxn>
                <a:cxn ang="0">
                  <a:pos x="14" y="0"/>
                </a:cxn>
                <a:cxn ang="0">
                  <a:pos x="19" y="0"/>
                </a:cxn>
                <a:cxn ang="0">
                  <a:pos x="19" y="5"/>
                </a:cxn>
                <a:cxn ang="0">
                  <a:pos x="16" y="4"/>
                </a:cxn>
                <a:cxn ang="0">
                  <a:pos x="5" y="17"/>
                </a:cxn>
                <a:cxn ang="0">
                  <a:pos x="5" y="41"/>
                </a:cxn>
              </a:cxnLst>
              <a:rect l="0" t="0" r="r" b="b"/>
              <a:pathLst>
                <a:path w="19" h="41">
                  <a:moveTo>
                    <a:pt x="5" y="41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7"/>
                    <a:pt x="0" y="4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7" y="3"/>
                    <a:pt x="10" y="0"/>
                    <a:pt x="14" y="0"/>
                  </a:cubicBezTo>
                  <a:cubicBezTo>
                    <a:pt x="16" y="0"/>
                    <a:pt x="18" y="0"/>
                    <a:pt x="19" y="0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7" y="4"/>
                    <a:pt x="16" y="4"/>
                  </a:cubicBezTo>
                  <a:cubicBezTo>
                    <a:pt x="9" y="4"/>
                    <a:pt x="5" y="9"/>
                    <a:pt x="5" y="17"/>
                  </a:cubicBezTo>
                  <a:lnTo>
                    <a:pt x="5" y="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39"/>
              <a:endParaRPr lang="en-GB" sz="2489">
                <a:solidFill>
                  <a:srgbClr val="55BD5A"/>
                </a:solidFill>
              </a:endParaRPr>
            </a:p>
          </p:txBody>
        </p:sp>
        <p:sp>
          <p:nvSpPr>
            <p:cNvPr id="21" name="Freeform 8"/>
            <p:cNvSpPr>
              <a:spLocks noEditPoints="1"/>
            </p:cNvSpPr>
            <p:nvPr userDrawn="1"/>
          </p:nvSpPr>
          <p:spPr bwMode="auto">
            <a:xfrm>
              <a:off x="583" y="1397"/>
              <a:ext cx="255" cy="305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19" y="38"/>
                </a:cxn>
                <a:cxn ang="0">
                  <a:pos x="30" y="29"/>
                </a:cxn>
                <a:cxn ang="0">
                  <a:pos x="36" y="29"/>
                </a:cxn>
                <a:cxn ang="0">
                  <a:pos x="17" y="43"/>
                </a:cxn>
                <a:cxn ang="0">
                  <a:pos x="0" y="21"/>
                </a:cxn>
                <a:cxn ang="0">
                  <a:pos x="18" y="0"/>
                </a:cxn>
                <a:cxn ang="0">
                  <a:pos x="36" y="22"/>
                </a:cxn>
                <a:cxn ang="0">
                  <a:pos x="5" y="22"/>
                </a:cxn>
                <a:cxn ang="0">
                  <a:pos x="31" y="18"/>
                </a:cxn>
                <a:cxn ang="0">
                  <a:pos x="18" y="4"/>
                </a:cxn>
                <a:cxn ang="0">
                  <a:pos x="5" y="18"/>
                </a:cxn>
                <a:cxn ang="0">
                  <a:pos x="31" y="18"/>
                </a:cxn>
              </a:cxnLst>
              <a:rect l="0" t="0" r="r" b="b"/>
              <a:pathLst>
                <a:path w="36" h="43">
                  <a:moveTo>
                    <a:pt x="5" y="22"/>
                  </a:moveTo>
                  <a:cubicBezTo>
                    <a:pt x="5" y="31"/>
                    <a:pt x="9" y="38"/>
                    <a:pt x="19" y="38"/>
                  </a:cubicBezTo>
                  <a:cubicBezTo>
                    <a:pt x="25" y="38"/>
                    <a:pt x="29" y="34"/>
                    <a:pt x="30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3" y="38"/>
                    <a:pt x="27" y="43"/>
                    <a:pt x="17" y="43"/>
                  </a:cubicBezTo>
                  <a:cubicBezTo>
                    <a:pt x="5" y="43"/>
                    <a:pt x="0" y="32"/>
                    <a:pt x="0" y="21"/>
                  </a:cubicBezTo>
                  <a:cubicBezTo>
                    <a:pt x="0" y="10"/>
                    <a:pt x="6" y="0"/>
                    <a:pt x="18" y="0"/>
                  </a:cubicBezTo>
                  <a:cubicBezTo>
                    <a:pt x="31" y="0"/>
                    <a:pt x="36" y="10"/>
                    <a:pt x="36" y="22"/>
                  </a:cubicBezTo>
                  <a:lnTo>
                    <a:pt x="5" y="22"/>
                  </a:lnTo>
                  <a:close/>
                  <a:moveTo>
                    <a:pt x="31" y="18"/>
                  </a:moveTo>
                  <a:cubicBezTo>
                    <a:pt x="30" y="10"/>
                    <a:pt x="26" y="4"/>
                    <a:pt x="18" y="4"/>
                  </a:cubicBezTo>
                  <a:cubicBezTo>
                    <a:pt x="10" y="4"/>
                    <a:pt x="6" y="11"/>
                    <a:pt x="5" y="18"/>
                  </a:cubicBezTo>
                  <a:lnTo>
                    <a:pt x="31" y="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39"/>
              <a:endParaRPr lang="en-GB" sz="2489">
                <a:solidFill>
                  <a:srgbClr val="55BD5A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895" y="1397"/>
              <a:ext cx="262" cy="305"/>
            </a:xfrm>
            <a:custGeom>
              <a:avLst/>
              <a:gdLst/>
              <a:ahLst/>
              <a:cxnLst>
                <a:cxn ang="0">
                  <a:pos x="6" y="22"/>
                </a:cxn>
                <a:cxn ang="0">
                  <a:pos x="20" y="38"/>
                </a:cxn>
                <a:cxn ang="0">
                  <a:pos x="31" y="29"/>
                </a:cxn>
                <a:cxn ang="0">
                  <a:pos x="36" y="29"/>
                </a:cxn>
                <a:cxn ang="0">
                  <a:pos x="18" y="43"/>
                </a:cxn>
                <a:cxn ang="0">
                  <a:pos x="0" y="21"/>
                </a:cxn>
                <a:cxn ang="0">
                  <a:pos x="18" y="0"/>
                </a:cxn>
                <a:cxn ang="0">
                  <a:pos x="37" y="22"/>
                </a:cxn>
                <a:cxn ang="0">
                  <a:pos x="6" y="22"/>
                </a:cxn>
                <a:cxn ang="0">
                  <a:pos x="32" y="18"/>
                </a:cxn>
                <a:cxn ang="0">
                  <a:pos x="18" y="4"/>
                </a:cxn>
                <a:cxn ang="0">
                  <a:pos x="6" y="18"/>
                </a:cxn>
                <a:cxn ang="0">
                  <a:pos x="32" y="18"/>
                </a:cxn>
              </a:cxnLst>
              <a:rect l="0" t="0" r="r" b="b"/>
              <a:pathLst>
                <a:path w="37" h="43">
                  <a:moveTo>
                    <a:pt x="6" y="22"/>
                  </a:moveTo>
                  <a:cubicBezTo>
                    <a:pt x="6" y="31"/>
                    <a:pt x="10" y="38"/>
                    <a:pt x="20" y="38"/>
                  </a:cubicBezTo>
                  <a:cubicBezTo>
                    <a:pt x="25" y="38"/>
                    <a:pt x="30" y="34"/>
                    <a:pt x="31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4" y="38"/>
                    <a:pt x="28" y="43"/>
                    <a:pt x="18" y="43"/>
                  </a:cubicBezTo>
                  <a:cubicBezTo>
                    <a:pt x="6" y="43"/>
                    <a:pt x="0" y="32"/>
                    <a:pt x="0" y="21"/>
                  </a:cubicBezTo>
                  <a:cubicBezTo>
                    <a:pt x="0" y="10"/>
                    <a:pt x="6" y="0"/>
                    <a:pt x="18" y="0"/>
                  </a:cubicBezTo>
                  <a:cubicBezTo>
                    <a:pt x="32" y="0"/>
                    <a:pt x="37" y="10"/>
                    <a:pt x="37" y="22"/>
                  </a:cubicBezTo>
                  <a:lnTo>
                    <a:pt x="6" y="22"/>
                  </a:lnTo>
                  <a:close/>
                  <a:moveTo>
                    <a:pt x="32" y="18"/>
                  </a:moveTo>
                  <a:cubicBezTo>
                    <a:pt x="31" y="10"/>
                    <a:pt x="27" y="4"/>
                    <a:pt x="18" y="4"/>
                  </a:cubicBezTo>
                  <a:cubicBezTo>
                    <a:pt x="11" y="4"/>
                    <a:pt x="6" y="11"/>
                    <a:pt x="6" y="18"/>
                  </a:cubicBezTo>
                  <a:lnTo>
                    <a:pt x="32" y="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39"/>
              <a:endParaRPr lang="en-GB" sz="2489">
                <a:solidFill>
                  <a:srgbClr val="55BD5A"/>
                </a:solidFill>
              </a:endParaRPr>
            </a:p>
          </p:txBody>
        </p:sp>
        <p:sp>
          <p:nvSpPr>
            <p:cNvPr id="23" name="Freeform 10"/>
            <p:cNvSpPr>
              <a:spLocks/>
            </p:cNvSpPr>
            <p:nvPr userDrawn="1"/>
          </p:nvSpPr>
          <p:spPr bwMode="auto">
            <a:xfrm>
              <a:off x="1228" y="1397"/>
              <a:ext cx="227" cy="291"/>
            </a:xfrm>
            <a:custGeom>
              <a:avLst/>
              <a:gdLst/>
              <a:ahLst/>
              <a:cxnLst>
                <a:cxn ang="0">
                  <a:pos x="5" y="41"/>
                </a:cxn>
                <a:cxn ang="0">
                  <a:pos x="1" y="41"/>
                </a:cxn>
                <a:cxn ang="0">
                  <a:pos x="1" y="10"/>
                </a:cxn>
                <a:cxn ang="0">
                  <a:pos x="0" y="1"/>
                </a:cxn>
                <a:cxn ang="0">
                  <a:pos x="5" y="1"/>
                </a:cxn>
                <a:cxn ang="0">
                  <a:pos x="5" y="7"/>
                </a:cxn>
                <a:cxn ang="0">
                  <a:pos x="5" y="7"/>
                </a:cxn>
                <a:cxn ang="0">
                  <a:pos x="18" y="0"/>
                </a:cxn>
                <a:cxn ang="0">
                  <a:pos x="32" y="16"/>
                </a:cxn>
                <a:cxn ang="0">
                  <a:pos x="32" y="41"/>
                </a:cxn>
                <a:cxn ang="0">
                  <a:pos x="28" y="41"/>
                </a:cxn>
                <a:cxn ang="0">
                  <a:pos x="28" y="15"/>
                </a:cxn>
                <a:cxn ang="0">
                  <a:pos x="17" y="4"/>
                </a:cxn>
                <a:cxn ang="0">
                  <a:pos x="5" y="18"/>
                </a:cxn>
                <a:cxn ang="0">
                  <a:pos x="5" y="41"/>
                </a:cxn>
              </a:cxnLst>
              <a:rect l="0" t="0" r="r" b="b"/>
              <a:pathLst>
                <a:path w="32" h="41">
                  <a:moveTo>
                    <a:pt x="5" y="41"/>
                  </a:moveTo>
                  <a:cubicBezTo>
                    <a:pt x="1" y="41"/>
                    <a:pt x="1" y="41"/>
                    <a:pt x="1" y="41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7"/>
                    <a:pt x="0" y="4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8" y="2"/>
                    <a:pt x="13" y="0"/>
                    <a:pt x="18" y="0"/>
                  </a:cubicBezTo>
                  <a:cubicBezTo>
                    <a:pt x="31" y="0"/>
                    <a:pt x="32" y="12"/>
                    <a:pt x="32" y="16"/>
                  </a:cubicBezTo>
                  <a:cubicBezTo>
                    <a:pt x="32" y="41"/>
                    <a:pt x="32" y="41"/>
                    <a:pt x="32" y="4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8"/>
                    <a:pt x="24" y="4"/>
                    <a:pt x="17" y="4"/>
                  </a:cubicBezTo>
                  <a:cubicBezTo>
                    <a:pt x="9" y="4"/>
                    <a:pt x="5" y="11"/>
                    <a:pt x="5" y="18"/>
                  </a:cubicBezTo>
                  <a:lnTo>
                    <a:pt x="5" y="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39"/>
              <a:endParaRPr lang="en-GB" sz="2489">
                <a:solidFill>
                  <a:srgbClr val="55BD5A"/>
                </a:solidFill>
              </a:endParaRPr>
            </a:p>
          </p:txBody>
        </p:sp>
        <p:sp>
          <p:nvSpPr>
            <p:cNvPr id="24" name="Freeform 11"/>
            <p:cNvSpPr>
              <a:spLocks noEditPoints="1"/>
            </p:cNvSpPr>
            <p:nvPr userDrawn="1"/>
          </p:nvSpPr>
          <p:spPr bwMode="auto">
            <a:xfrm>
              <a:off x="1717" y="1277"/>
              <a:ext cx="276" cy="411"/>
            </a:xfrm>
            <a:custGeom>
              <a:avLst/>
              <a:gdLst/>
              <a:ahLst/>
              <a:cxnLst>
                <a:cxn ang="0">
                  <a:pos x="0" y="58"/>
                </a:cxn>
                <a:cxn ang="0">
                  <a:pos x="0" y="0"/>
                </a:cxn>
                <a:cxn ang="0">
                  <a:pos x="15" y="0"/>
                </a:cxn>
                <a:cxn ang="0">
                  <a:pos x="39" y="17"/>
                </a:cxn>
                <a:cxn ang="0">
                  <a:pos x="15" y="33"/>
                </a:cxn>
                <a:cxn ang="0">
                  <a:pos x="5" y="33"/>
                </a:cxn>
                <a:cxn ang="0">
                  <a:pos x="5" y="58"/>
                </a:cxn>
                <a:cxn ang="0">
                  <a:pos x="0" y="58"/>
                </a:cxn>
                <a:cxn ang="0">
                  <a:pos x="5" y="28"/>
                </a:cxn>
                <a:cxn ang="0">
                  <a:pos x="18" y="28"/>
                </a:cxn>
                <a:cxn ang="0">
                  <a:pos x="33" y="17"/>
                </a:cxn>
                <a:cxn ang="0">
                  <a:pos x="18" y="5"/>
                </a:cxn>
                <a:cxn ang="0">
                  <a:pos x="5" y="5"/>
                </a:cxn>
                <a:cxn ang="0">
                  <a:pos x="5" y="28"/>
                </a:cxn>
              </a:cxnLst>
              <a:rect l="0" t="0" r="r" b="b"/>
              <a:pathLst>
                <a:path w="39" h="58">
                  <a:moveTo>
                    <a:pt x="0" y="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6" y="0"/>
                    <a:pt x="39" y="3"/>
                    <a:pt x="39" y="17"/>
                  </a:cubicBezTo>
                  <a:cubicBezTo>
                    <a:pt x="39" y="31"/>
                    <a:pt x="26" y="33"/>
                    <a:pt x="1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58"/>
                    <a:pt x="5" y="58"/>
                    <a:pt x="5" y="58"/>
                  </a:cubicBezTo>
                  <a:lnTo>
                    <a:pt x="0" y="58"/>
                  </a:lnTo>
                  <a:close/>
                  <a:moveTo>
                    <a:pt x="5" y="28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26" y="28"/>
                    <a:pt x="33" y="26"/>
                    <a:pt x="33" y="17"/>
                  </a:cubicBezTo>
                  <a:cubicBezTo>
                    <a:pt x="33" y="8"/>
                    <a:pt x="26" y="5"/>
                    <a:pt x="18" y="5"/>
                  </a:cubicBezTo>
                  <a:cubicBezTo>
                    <a:pt x="5" y="5"/>
                    <a:pt x="5" y="5"/>
                    <a:pt x="5" y="5"/>
                  </a:cubicBezTo>
                  <a:lnTo>
                    <a:pt x="5" y="2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39"/>
              <a:endParaRPr lang="en-GB" sz="2489">
                <a:solidFill>
                  <a:srgbClr val="55BD5A"/>
                </a:solidFill>
              </a:endParaRPr>
            </a:p>
          </p:txBody>
        </p:sp>
        <p:sp>
          <p:nvSpPr>
            <p:cNvPr id="25" name="Freeform 12"/>
            <p:cNvSpPr>
              <a:spLocks noEditPoints="1"/>
            </p:cNvSpPr>
            <p:nvPr userDrawn="1"/>
          </p:nvSpPr>
          <p:spPr bwMode="auto">
            <a:xfrm>
              <a:off x="2001" y="1397"/>
              <a:ext cx="269" cy="305"/>
            </a:xfrm>
            <a:custGeom>
              <a:avLst/>
              <a:gdLst/>
              <a:ahLst/>
              <a:cxnLst>
                <a:cxn ang="0">
                  <a:pos x="38" y="21"/>
                </a:cxn>
                <a:cxn ang="0">
                  <a:pos x="19" y="43"/>
                </a:cxn>
                <a:cxn ang="0">
                  <a:pos x="0" y="21"/>
                </a:cxn>
                <a:cxn ang="0">
                  <a:pos x="19" y="0"/>
                </a:cxn>
                <a:cxn ang="0">
                  <a:pos x="38" y="21"/>
                </a:cxn>
                <a:cxn ang="0">
                  <a:pos x="19" y="4"/>
                </a:cxn>
                <a:cxn ang="0">
                  <a:pos x="6" y="21"/>
                </a:cxn>
                <a:cxn ang="0">
                  <a:pos x="19" y="38"/>
                </a:cxn>
                <a:cxn ang="0">
                  <a:pos x="33" y="21"/>
                </a:cxn>
                <a:cxn ang="0">
                  <a:pos x="19" y="4"/>
                </a:cxn>
              </a:cxnLst>
              <a:rect l="0" t="0" r="r" b="b"/>
              <a:pathLst>
                <a:path w="38" h="43">
                  <a:moveTo>
                    <a:pt x="38" y="21"/>
                  </a:moveTo>
                  <a:cubicBezTo>
                    <a:pt x="38" y="32"/>
                    <a:pt x="32" y="43"/>
                    <a:pt x="19" y="43"/>
                  </a:cubicBezTo>
                  <a:cubicBezTo>
                    <a:pt x="6" y="43"/>
                    <a:pt x="0" y="32"/>
                    <a:pt x="0" y="21"/>
                  </a:cubicBezTo>
                  <a:cubicBezTo>
                    <a:pt x="0" y="11"/>
                    <a:pt x="6" y="0"/>
                    <a:pt x="19" y="0"/>
                  </a:cubicBezTo>
                  <a:cubicBezTo>
                    <a:pt x="32" y="0"/>
                    <a:pt x="38" y="11"/>
                    <a:pt x="38" y="21"/>
                  </a:cubicBezTo>
                  <a:close/>
                  <a:moveTo>
                    <a:pt x="19" y="4"/>
                  </a:moveTo>
                  <a:cubicBezTo>
                    <a:pt x="10" y="4"/>
                    <a:pt x="6" y="14"/>
                    <a:pt x="6" y="21"/>
                  </a:cubicBezTo>
                  <a:cubicBezTo>
                    <a:pt x="6" y="29"/>
                    <a:pt x="10" y="38"/>
                    <a:pt x="19" y="38"/>
                  </a:cubicBezTo>
                  <a:cubicBezTo>
                    <a:pt x="29" y="38"/>
                    <a:pt x="33" y="29"/>
                    <a:pt x="33" y="21"/>
                  </a:cubicBezTo>
                  <a:cubicBezTo>
                    <a:pt x="33" y="14"/>
                    <a:pt x="29" y="4"/>
                    <a:pt x="19" y="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39"/>
              <a:endParaRPr lang="en-GB" sz="2489">
                <a:solidFill>
                  <a:srgbClr val="55BD5A"/>
                </a:solidFill>
              </a:endParaRPr>
            </a:p>
          </p:txBody>
        </p:sp>
        <p:sp>
          <p:nvSpPr>
            <p:cNvPr id="26" name="Freeform 13"/>
            <p:cNvSpPr>
              <a:spLocks/>
            </p:cNvSpPr>
            <p:nvPr userDrawn="1"/>
          </p:nvSpPr>
          <p:spPr bwMode="auto">
            <a:xfrm>
              <a:off x="2291" y="1404"/>
              <a:ext cx="461" cy="284"/>
            </a:xfrm>
            <a:custGeom>
              <a:avLst/>
              <a:gdLst/>
              <a:ahLst/>
              <a:cxnLst>
                <a:cxn ang="0">
                  <a:pos x="128" y="241"/>
                </a:cxn>
                <a:cxn ang="0">
                  <a:pos x="128" y="241"/>
                </a:cxn>
                <a:cxn ang="0">
                  <a:pos x="213" y="0"/>
                </a:cxn>
                <a:cxn ang="0">
                  <a:pos x="255" y="0"/>
                </a:cxn>
                <a:cxn ang="0">
                  <a:pos x="340" y="241"/>
                </a:cxn>
                <a:cxn ang="0">
                  <a:pos x="340" y="241"/>
                </a:cxn>
                <a:cxn ang="0">
                  <a:pos x="425" y="0"/>
                </a:cxn>
                <a:cxn ang="0">
                  <a:pos x="461" y="0"/>
                </a:cxn>
                <a:cxn ang="0">
                  <a:pos x="354" y="284"/>
                </a:cxn>
                <a:cxn ang="0">
                  <a:pos x="319" y="284"/>
                </a:cxn>
                <a:cxn ang="0">
                  <a:pos x="234" y="43"/>
                </a:cxn>
                <a:cxn ang="0">
                  <a:pos x="234" y="43"/>
                </a:cxn>
                <a:cxn ang="0">
                  <a:pos x="142" y="284"/>
                </a:cxn>
                <a:cxn ang="0">
                  <a:pos x="106" y="284"/>
                </a:cxn>
                <a:cxn ang="0">
                  <a:pos x="0" y="0"/>
                </a:cxn>
                <a:cxn ang="0">
                  <a:pos x="43" y="0"/>
                </a:cxn>
                <a:cxn ang="0">
                  <a:pos x="128" y="241"/>
                </a:cxn>
              </a:cxnLst>
              <a:rect l="0" t="0" r="r" b="b"/>
              <a:pathLst>
                <a:path w="461" h="284">
                  <a:moveTo>
                    <a:pt x="128" y="241"/>
                  </a:moveTo>
                  <a:lnTo>
                    <a:pt x="128" y="241"/>
                  </a:lnTo>
                  <a:lnTo>
                    <a:pt x="213" y="0"/>
                  </a:lnTo>
                  <a:lnTo>
                    <a:pt x="255" y="0"/>
                  </a:lnTo>
                  <a:lnTo>
                    <a:pt x="340" y="241"/>
                  </a:lnTo>
                  <a:lnTo>
                    <a:pt x="340" y="241"/>
                  </a:lnTo>
                  <a:lnTo>
                    <a:pt x="425" y="0"/>
                  </a:lnTo>
                  <a:lnTo>
                    <a:pt x="461" y="0"/>
                  </a:lnTo>
                  <a:lnTo>
                    <a:pt x="354" y="284"/>
                  </a:lnTo>
                  <a:lnTo>
                    <a:pt x="319" y="284"/>
                  </a:lnTo>
                  <a:lnTo>
                    <a:pt x="234" y="43"/>
                  </a:lnTo>
                  <a:lnTo>
                    <a:pt x="234" y="43"/>
                  </a:lnTo>
                  <a:lnTo>
                    <a:pt x="142" y="284"/>
                  </a:lnTo>
                  <a:lnTo>
                    <a:pt x="106" y="284"/>
                  </a:lnTo>
                  <a:lnTo>
                    <a:pt x="0" y="0"/>
                  </a:lnTo>
                  <a:lnTo>
                    <a:pt x="43" y="0"/>
                  </a:lnTo>
                  <a:lnTo>
                    <a:pt x="128" y="2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39"/>
              <a:endParaRPr lang="en-GB" sz="2489">
                <a:solidFill>
                  <a:srgbClr val="55BD5A"/>
                </a:solidFill>
              </a:endParaRPr>
            </a:p>
          </p:txBody>
        </p:sp>
        <p:sp>
          <p:nvSpPr>
            <p:cNvPr id="27" name="Freeform 14"/>
            <p:cNvSpPr>
              <a:spLocks noEditPoints="1"/>
            </p:cNvSpPr>
            <p:nvPr userDrawn="1"/>
          </p:nvSpPr>
          <p:spPr bwMode="auto">
            <a:xfrm>
              <a:off x="2780" y="1397"/>
              <a:ext cx="255" cy="305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19" y="38"/>
                </a:cxn>
                <a:cxn ang="0">
                  <a:pos x="30" y="29"/>
                </a:cxn>
                <a:cxn ang="0">
                  <a:pos x="35" y="29"/>
                </a:cxn>
                <a:cxn ang="0">
                  <a:pos x="17" y="43"/>
                </a:cxn>
                <a:cxn ang="0">
                  <a:pos x="0" y="21"/>
                </a:cxn>
                <a:cxn ang="0">
                  <a:pos x="18" y="0"/>
                </a:cxn>
                <a:cxn ang="0">
                  <a:pos x="36" y="22"/>
                </a:cxn>
                <a:cxn ang="0">
                  <a:pos x="5" y="22"/>
                </a:cxn>
                <a:cxn ang="0">
                  <a:pos x="31" y="18"/>
                </a:cxn>
                <a:cxn ang="0">
                  <a:pos x="18" y="4"/>
                </a:cxn>
                <a:cxn ang="0">
                  <a:pos x="5" y="18"/>
                </a:cxn>
                <a:cxn ang="0">
                  <a:pos x="31" y="18"/>
                </a:cxn>
              </a:cxnLst>
              <a:rect l="0" t="0" r="r" b="b"/>
              <a:pathLst>
                <a:path w="36" h="43">
                  <a:moveTo>
                    <a:pt x="5" y="22"/>
                  </a:moveTo>
                  <a:cubicBezTo>
                    <a:pt x="5" y="31"/>
                    <a:pt x="9" y="38"/>
                    <a:pt x="19" y="38"/>
                  </a:cubicBezTo>
                  <a:cubicBezTo>
                    <a:pt x="24" y="38"/>
                    <a:pt x="29" y="34"/>
                    <a:pt x="30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3" y="38"/>
                    <a:pt x="27" y="43"/>
                    <a:pt x="17" y="43"/>
                  </a:cubicBezTo>
                  <a:cubicBezTo>
                    <a:pt x="5" y="43"/>
                    <a:pt x="0" y="32"/>
                    <a:pt x="0" y="21"/>
                  </a:cubicBezTo>
                  <a:cubicBezTo>
                    <a:pt x="0" y="10"/>
                    <a:pt x="6" y="0"/>
                    <a:pt x="18" y="0"/>
                  </a:cubicBezTo>
                  <a:cubicBezTo>
                    <a:pt x="31" y="0"/>
                    <a:pt x="36" y="10"/>
                    <a:pt x="36" y="22"/>
                  </a:cubicBezTo>
                  <a:lnTo>
                    <a:pt x="5" y="22"/>
                  </a:lnTo>
                  <a:close/>
                  <a:moveTo>
                    <a:pt x="31" y="18"/>
                  </a:moveTo>
                  <a:cubicBezTo>
                    <a:pt x="30" y="10"/>
                    <a:pt x="26" y="4"/>
                    <a:pt x="18" y="4"/>
                  </a:cubicBezTo>
                  <a:cubicBezTo>
                    <a:pt x="10" y="4"/>
                    <a:pt x="6" y="11"/>
                    <a:pt x="5" y="18"/>
                  </a:cubicBezTo>
                  <a:lnTo>
                    <a:pt x="31" y="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39"/>
              <a:endParaRPr lang="en-GB" sz="2489">
                <a:solidFill>
                  <a:srgbClr val="55BD5A"/>
                </a:solidFill>
              </a:endParaRPr>
            </a:p>
          </p:txBody>
        </p:sp>
        <p:sp>
          <p:nvSpPr>
            <p:cNvPr id="28" name="Freeform 15"/>
            <p:cNvSpPr>
              <a:spLocks/>
            </p:cNvSpPr>
            <p:nvPr userDrawn="1"/>
          </p:nvSpPr>
          <p:spPr bwMode="auto">
            <a:xfrm>
              <a:off x="3106" y="1397"/>
              <a:ext cx="142" cy="291"/>
            </a:xfrm>
            <a:custGeom>
              <a:avLst/>
              <a:gdLst/>
              <a:ahLst/>
              <a:cxnLst>
                <a:cxn ang="0">
                  <a:pos x="6" y="41"/>
                </a:cxn>
                <a:cxn ang="0">
                  <a:pos x="1" y="41"/>
                </a:cxn>
                <a:cxn ang="0">
                  <a:pos x="1" y="10"/>
                </a:cxn>
                <a:cxn ang="0">
                  <a:pos x="0" y="1"/>
                </a:cxn>
                <a:cxn ang="0">
                  <a:pos x="5" y="1"/>
                </a:cxn>
                <a:cxn ang="0">
                  <a:pos x="6" y="7"/>
                </a:cxn>
                <a:cxn ang="0">
                  <a:pos x="6" y="7"/>
                </a:cxn>
                <a:cxn ang="0">
                  <a:pos x="15" y="0"/>
                </a:cxn>
                <a:cxn ang="0">
                  <a:pos x="20" y="0"/>
                </a:cxn>
                <a:cxn ang="0">
                  <a:pos x="20" y="5"/>
                </a:cxn>
                <a:cxn ang="0">
                  <a:pos x="17" y="4"/>
                </a:cxn>
                <a:cxn ang="0">
                  <a:pos x="6" y="17"/>
                </a:cxn>
                <a:cxn ang="0">
                  <a:pos x="6" y="41"/>
                </a:cxn>
              </a:cxnLst>
              <a:rect l="0" t="0" r="r" b="b"/>
              <a:pathLst>
                <a:path w="20" h="41">
                  <a:moveTo>
                    <a:pt x="6" y="41"/>
                  </a:moveTo>
                  <a:cubicBezTo>
                    <a:pt x="1" y="41"/>
                    <a:pt x="1" y="41"/>
                    <a:pt x="1" y="41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7"/>
                    <a:pt x="0" y="4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3"/>
                    <a:pt x="11" y="0"/>
                    <a:pt x="15" y="0"/>
                  </a:cubicBezTo>
                  <a:cubicBezTo>
                    <a:pt x="16" y="0"/>
                    <a:pt x="18" y="0"/>
                    <a:pt x="20" y="0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8" y="4"/>
                    <a:pt x="17" y="4"/>
                  </a:cubicBezTo>
                  <a:cubicBezTo>
                    <a:pt x="9" y="4"/>
                    <a:pt x="6" y="9"/>
                    <a:pt x="6" y="17"/>
                  </a:cubicBezTo>
                  <a:lnTo>
                    <a:pt x="6" y="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39"/>
              <a:endParaRPr lang="en-GB" sz="2489">
                <a:solidFill>
                  <a:srgbClr val="55BD5A"/>
                </a:solidFill>
              </a:endParaRPr>
            </a:p>
          </p:txBody>
        </p:sp>
        <p:sp>
          <p:nvSpPr>
            <p:cNvPr id="29" name="Freeform 16"/>
            <p:cNvSpPr>
              <a:spLocks/>
            </p:cNvSpPr>
            <p:nvPr userDrawn="1"/>
          </p:nvSpPr>
          <p:spPr bwMode="auto">
            <a:xfrm>
              <a:off x="753" y="-1197"/>
              <a:ext cx="1914" cy="1928"/>
            </a:xfrm>
            <a:custGeom>
              <a:avLst/>
              <a:gdLst/>
              <a:ahLst/>
              <a:cxnLst>
                <a:cxn ang="0">
                  <a:pos x="270" y="113"/>
                </a:cxn>
                <a:cxn ang="0">
                  <a:pos x="136" y="0"/>
                </a:cxn>
                <a:cxn ang="0">
                  <a:pos x="0" y="136"/>
                </a:cxn>
                <a:cxn ang="0">
                  <a:pos x="136" y="272"/>
                </a:cxn>
                <a:cxn ang="0">
                  <a:pos x="244" y="219"/>
                </a:cxn>
                <a:cxn ang="0">
                  <a:pos x="212" y="194"/>
                </a:cxn>
                <a:cxn ang="0">
                  <a:pos x="136" y="232"/>
                </a:cxn>
                <a:cxn ang="0">
                  <a:pos x="40" y="136"/>
                </a:cxn>
                <a:cxn ang="0">
                  <a:pos x="136" y="41"/>
                </a:cxn>
                <a:cxn ang="0">
                  <a:pos x="229" y="113"/>
                </a:cxn>
                <a:cxn ang="0">
                  <a:pos x="128" y="113"/>
                </a:cxn>
                <a:cxn ang="0">
                  <a:pos x="128" y="153"/>
                </a:cxn>
                <a:cxn ang="0">
                  <a:pos x="270" y="153"/>
                </a:cxn>
                <a:cxn ang="0">
                  <a:pos x="270" y="113"/>
                </a:cxn>
              </a:cxnLst>
              <a:rect l="0" t="0" r="r" b="b"/>
              <a:pathLst>
                <a:path w="270" h="272">
                  <a:moveTo>
                    <a:pt x="270" y="113"/>
                  </a:moveTo>
                  <a:cubicBezTo>
                    <a:pt x="259" y="49"/>
                    <a:pt x="203" y="0"/>
                    <a:pt x="136" y="0"/>
                  </a:cubicBezTo>
                  <a:cubicBezTo>
                    <a:pt x="61" y="0"/>
                    <a:pt x="0" y="61"/>
                    <a:pt x="0" y="136"/>
                  </a:cubicBezTo>
                  <a:cubicBezTo>
                    <a:pt x="0" y="211"/>
                    <a:pt x="61" y="272"/>
                    <a:pt x="136" y="272"/>
                  </a:cubicBezTo>
                  <a:cubicBezTo>
                    <a:pt x="180" y="272"/>
                    <a:pt x="219" y="251"/>
                    <a:pt x="244" y="219"/>
                  </a:cubicBezTo>
                  <a:cubicBezTo>
                    <a:pt x="212" y="194"/>
                    <a:pt x="212" y="194"/>
                    <a:pt x="212" y="194"/>
                  </a:cubicBezTo>
                  <a:cubicBezTo>
                    <a:pt x="194" y="217"/>
                    <a:pt x="167" y="232"/>
                    <a:pt x="136" y="232"/>
                  </a:cubicBezTo>
                  <a:cubicBezTo>
                    <a:pt x="83" y="232"/>
                    <a:pt x="40" y="189"/>
                    <a:pt x="40" y="136"/>
                  </a:cubicBezTo>
                  <a:cubicBezTo>
                    <a:pt x="40" y="84"/>
                    <a:pt x="83" y="41"/>
                    <a:pt x="136" y="41"/>
                  </a:cubicBezTo>
                  <a:cubicBezTo>
                    <a:pt x="180" y="41"/>
                    <a:pt x="218" y="71"/>
                    <a:pt x="229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270" y="153"/>
                    <a:pt x="270" y="153"/>
                    <a:pt x="270" y="153"/>
                  </a:cubicBezTo>
                  <a:lnTo>
                    <a:pt x="270" y="1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39"/>
              <a:endParaRPr lang="en-GB" sz="2489">
                <a:solidFill>
                  <a:srgbClr val="55BD5A"/>
                </a:solidFill>
              </a:endParaRPr>
            </a:p>
          </p:txBody>
        </p:sp>
        <p:sp>
          <p:nvSpPr>
            <p:cNvPr id="30" name="Freeform 17"/>
            <p:cNvSpPr>
              <a:spLocks/>
            </p:cNvSpPr>
            <p:nvPr userDrawn="1"/>
          </p:nvSpPr>
          <p:spPr bwMode="auto">
            <a:xfrm>
              <a:off x="-3449" y="-1197"/>
              <a:ext cx="1913" cy="1928"/>
            </a:xfrm>
            <a:custGeom>
              <a:avLst/>
              <a:gdLst/>
              <a:ahLst/>
              <a:cxnLst>
                <a:cxn ang="0">
                  <a:pos x="270" y="113"/>
                </a:cxn>
                <a:cxn ang="0">
                  <a:pos x="136" y="0"/>
                </a:cxn>
                <a:cxn ang="0">
                  <a:pos x="0" y="136"/>
                </a:cxn>
                <a:cxn ang="0">
                  <a:pos x="136" y="272"/>
                </a:cxn>
                <a:cxn ang="0">
                  <a:pos x="244" y="219"/>
                </a:cxn>
                <a:cxn ang="0">
                  <a:pos x="212" y="194"/>
                </a:cxn>
                <a:cxn ang="0">
                  <a:pos x="136" y="232"/>
                </a:cxn>
                <a:cxn ang="0">
                  <a:pos x="41" y="136"/>
                </a:cxn>
                <a:cxn ang="0">
                  <a:pos x="136" y="41"/>
                </a:cxn>
                <a:cxn ang="0">
                  <a:pos x="229" y="113"/>
                </a:cxn>
                <a:cxn ang="0">
                  <a:pos x="128" y="113"/>
                </a:cxn>
                <a:cxn ang="0">
                  <a:pos x="128" y="153"/>
                </a:cxn>
                <a:cxn ang="0">
                  <a:pos x="270" y="153"/>
                </a:cxn>
                <a:cxn ang="0">
                  <a:pos x="270" y="113"/>
                </a:cxn>
              </a:cxnLst>
              <a:rect l="0" t="0" r="r" b="b"/>
              <a:pathLst>
                <a:path w="270" h="272">
                  <a:moveTo>
                    <a:pt x="270" y="113"/>
                  </a:moveTo>
                  <a:cubicBezTo>
                    <a:pt x="259" y="49"/>
                    <a:pt x="203" y="0"/>
                    <a:pt x="136" y="0"/>
                  </a:cubicBezTo>
                  <a:cubicBezTo>
                    <a:pt x="61" y="0"/>
                    <a:pt x="0" y="61"/>
                    <a:pt x="0" y="136"/>
                  </a:cubicBezTo>
                  <a:cubicBezTo>
                    <a:pt x="0" y="211"/>
                    <a:pt x="61" y="272"/>
                    <a:pt x="136" y="272"/>
                  </a:cubicBezTo>
                  <a:cubicBezTo>
                    <a:pt x="180" y="272"/>
                    <a:pt x="219" y="251"/>
                    <a:pt x="244" y="219"/>
                  </a:cubicBezTo>
                  <a:cubicBezTo>
                    <a:pt x="212" y="194"/>
                    <a:pt x="212" y="194"/>
                    <a:pt x="212" y="194"/>
                  </a:cubicBezTo>
                  <a:cubicBezTo>
                    <a:pt x="194" y="217"/>
                    <a:pt x="167" y="232"/>
                    <a:pt x="136" y="232"/>
                  </a:cubicBezTo>
                  <a:cubicBezTo>
                    <a:pt x="83" y="232"/>
                    <a:pt x="41" y="189"/>
                    <a:pt x="41" y="136"/>
                  </a:cubicBezTo>
                  <a:cubicBezTo>
                    <a:pt x="41" y="84"/>
                    <a:pt x="83" y="41"/>
                    <a:pt x="136" y="41"/>
                  </a:cubicBezTo>
                  <a:cubicBezTo>
                    <a:pt x="181" y="41"/>
                    <a:pt x="218" y="71"/>
                    <a:pt x="229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270" y="153"/>
                    <a:pt x="270" y="153"/>
                    <a:pt x="270" y="153"/>
                  </a:cubicBezTo>
                  <a:lnTo>
                    <a:pt x="270" y="1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39"/>
              <a:endParaRPr lang="en-GB" sz="2489">
                <a:solidFill>
                  <a:srgbClr val="55BD5A"/>
                </a:solidFill>
              </a:endParaRPr>
            </a:p>
          </p:txBody>
        </p:sp>
        <p:sp>
          <p:nvSpPr>
            <p:cNvPr id="31" name="Freeform 18"/>
            <p:cNvSpPr>
              <a:spLocks/>
            </p:cNvSpPr>
            <p:nvPr userDrawn="1"/>
          </p:nvSpPr>
          <p:spPr bwMode="auto">
            <a:xfrm>
              <a:off x="2957" y="-1785"/>
              <a:ext cx="553" cy="2516"/>
            </a:xfrm>
            <a:custGeom>
              <a:avLst/>
              <a:gdLst/>
              <a:ahLst/>
              <a:cxnLst>
                <a:cxn ang="0">
                  <a:pos x="40" y="264"/>
                </a:cxn>
                <a:cxn ang="0">
                  <a:pos x="40" y="0"/>
                </a:cxn>
                <a:cxn ang="0">
                  <a:pos x="0" y="0"/>
                </a:cxn>
                <a:cxn ang="0">
                  <a:pos x="0" y="264"/>
                </a:cxn>
                <a:cxn ang="0">
                  <a:pos x="54" y="355"/>
                </a:cxn>
                <a:cxn ang="0">
                  <a:pos x="78" y="322"/>
                </a:cxn>
                <a:cxn ang="0">
                  <a:pos x="40" y="264"/>
                </a:cxn>
              </a:cxnLst>
              <a:rect l="0" t="0" r="r" b="b"/>
              <a:pathLst>
                <a:path w="78" h="355">
                  <a:moveTo>
                    <a:pt x="40" y="264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4"/>
                    <a:pt x="0" y="264"/>
                    <a:pt x="0" y="264"/>
                  </a:cubicBezTo>
                  <a:cubicBezTo>
                    <a:pt x="0" y="307"/>
                    <a:pt x="20" y="332"/>
                    <a:pt x="54" y="355"/>
                  </a:cubicBezTo>
                  <a:cubicBezTo>
                    <a:pt x="78" y="322"/>
                    <a:pt x="78" y="322"/>
                    <a:pt x="78" y="322"/>
                  </a:cubicBezTo>
                  <a:cubicBezTo>
                    <a:pt x="54" y="306"/>
                    <a:pt x="40" y="293"/>
                    <a:pt x="40" y="2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39"/>
              <a:endParaRPr lang="en-GB" sz="2489">
                <a:solidFill>
                  <a:srgbClr val="55BD5A"/>
                </a:solidFill>
              </a:endParaRPr>
            </a:p>
          </p:txBody>
        </p:sp>
        <p:sp>
          <p:nvSpPr>
            <p:cNvPr id="32" name="Freeform 19"/>
            <p:cNvSpPr>
              <a:spLocks/>
            </p:cNvSpPr>
            <p:nvPr userDrawn="1"/>
          </p:nvSpPr>
          <p:spPr bwMode="auto">
            <a:xfrm>
              <a:off x="-1245" y="-1197"/>
              <a:ext cx="1729" cy="1900"/>
            </a:xfrm>
            <a:custGeom>
              <a:avLst/>
              <a:gdLst/>
              <a:ahLst/>
              <a:cxnLst>
                <a:cxn ang="0">
                  <a:pos x="244" y="113"/>
                </a:cxn>
                <a:cxn ang="0">
                  <a:pos x="131" y="0"/>
                </a:cxn>
                <a:cxn ang="0">
                  <a:pos x="41" y="37"/>
                </a:cxn>
                <a:cxn ang="0">
                  <a:pos x="41" y="11"/>
                </a:cxn>
                <a:cxn ang="0">
                  <a:pos x="0" y="11"/>
                </a:cxn>
                <a:cxn ang="0">
                  <a:pos x="0" y="153"/>
                </a:cxn>
                <a:cxn ang="0">
                  <a:pos x="41" y="153"/>
                </a:cxn>
                <a:cxn ang="0">
                  <a:pos x="41" y="120"/>
                </a:cxn>
                <a:cxn ang="0">
                  <a:pos x="131" y="41"/>
                </a:cxn>
                <a:cxn ang="0">
                  <a:pos x="203" y="113"/>
                </a:cxn>
                <a:cxn ang="0">
                  <a:pos x="203" y="268"/>
                </a:cxn>
                <a:cxn ang="0">
                  <a:pos x="244" y="268"/>
                </a:cxn>
                <a:cxn ang="0">
                  <a:pos x="244" y="113"/>
                </a:cxn>
              </a:cxnLst>
              <a:rect l="0" t="0" r="r" b="b"/>
              <a:pathLst>
                <a:path w="244" h="268">
                  <a:moveTo>
                    <a:pt x="244" y="113"/>
                  </a:moveTo>
                  <a:cubicBezTo>
                    <a:pt x="244" y="50"/>
                    <a:pt x="193" y="0"/>
                    <a:pt x="131" y="0"/>
                  </a:cubicBezTo>
                  <a:cubicBezTo>
                    <a:pt x="96" y="0"/>
                    <a:pt x="64" y="14"/>
                    <a:pt x="41" y="37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41" y="153"/>
                    <a:pt x="41" y="153"/>
                    <a:pt x="41" y="153"/>
                  </a:cubicBezTo>
                  <a:cubicBezTo>
                    <a:pt x="41" y="120"/>
                    <a:pt x="41" y="120"/>
                    <a:pt x="41" y="120"/>
                  </a:cubicBezTo>
                  <a:cubicBezTo>
                    <a:pt x="47" y="87"/>
                    <a:pt x="76" y="41"/>
                    <a:pt x="131" y="41"/>
                  </a:cubicBezTo>
                  <a:cubicBezTo>
                    <a:pt x="171" y="41"/>
                    <a:pt x="203" y="72"/>
                    <a:pt x="203" y="113"/>
                  </a:cubicBezTo>
                  <a:cubicBezTo>
                    <a:pt x="203" y="268"/>
                    <a:pt x="203" y="268"/>
                    <a:pt x="203" y="268"/>
                  </a:cubicBezTo>
                  <a:cubicBezTo>
                    <a:pt x="244" y="268"/>
                    <a:pt x="244" y="268"/>
                    <a:pt x="244" y="268"/>
                  </a:cubicBezTo>
                  <a:lnTo>
                    <a:pt x="244" y="1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39"/>
              <a:endParaRPr lang="en-GB" sz="2489">
                <a:solidFill>
                  <a:srgbClr val="55BD5A"/>
                </a:solidFill>
              </a:endParaRPr>
            </a:p>
          </p:txBody>
        </p:sp>
      </p:grpSp>
      <p:sp>
        <p:nvSpPr>
          <p:cNvPr id="33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664825" y="6264005"/>
            <a:ext cx="762000" cy="153888"/>
          </a:xfrm>
        </p:spPr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01153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9487085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5" name="Ogget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ttangolo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8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2" y="2057401"/>
            <a:ext cx="5334001" cy="4108451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2" y="2057401"/>
            <a:ext cx="5330825" cy="4108451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1" y="1085369"/>
            <a:ext cx="8375651" cy="276999"/>
          </a:xfrm>
        </p:spPr>
        <p:txBody>
          <a:bodyPr rIns="0">
            <a:noAutofit/>
          </a:bodyPr>
          <a:lstStyle>
            <a:lvl1pPr>
              <a:defRPr sz="1867"/>
            </a:lvl1pPr>
          </a:lstStyle>
          <a:p>
            <a:pPr lvl="0"/>
            <a:r>
              <a:rPr lang="en-GB"/>
              <a:t>Click to edit Master subtitle style if require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4534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2" y="2057401"/>
            <a:ext cx="3554412" cy="4108451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16413" y="2057401"/>
            <a:ext cx="3554411" cy="4108451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7870825" y="2057401"/>
            <a:ext cx="3554411" cy="4108451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62001" y="1085369"/>
            <a:ext cx="8375651" cy="276999"/>
          </a:xfrm>
        </p:spPr>
        <p:txBody>
          <a:bodyPr rIns="0">
            <a:noAutofit/>
          </a:bodyPr>
          <a:lstStyle>
            <a:lvl1pPr>
              <a:defRPr sz="1867"/>
            </a:lvl1pPr>
          </a:lstStyle>
          <a:p>
            <a:pPr lvl="0"/>
            <a:r>
              <a:rPr lang="en-GB"/>
              <a:t>Click to edit Master subtitle style if require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79671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08520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ttangolo 10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8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 sz="3867"/>
            </a:lvl1pPr>
            <a:lvl2pPr>
              <a:defRPr i="1"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1" y="1085369"/>
            <a:ext cx="8375651" cy="276999"/>
          </a:xfrm>
        </p:spPr>
        <p:txBody>
          <a:bodyPr rIns="0">
            <a:noAutofit/>
          </a:bodyPr>
          <a:lstStyle>
            <a:lvl1pPr>
              <a:defRPr sz="1867"/>
            </a:lvl1pPr>
          </a:lstStyle>
          <a:p>
            <a:pPr lvl="0"/>
            <a:r>
              <a:rPr lang="en-GB"/>
              <a:t>Click to edit Master subtitle style if require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80665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prstClr val="white"/>
                </a:solidFill>
              </a:rPr>
              <a:pPr/>
              <a:t>‹N›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 rot="5400000">
            <a:off x="1845392" y="-394415"/>
            <a:ext cx="878043" cy="30448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9" tIns="45719" rIns="91439" bIns="45719" rtlCol="0" anchor="ctr"/>
          <a:lstStyle/>
          <a:p>
            <a:pPr algn="ctr"/>
            <a:endParaRPr lang="en-GB" sz="2400">
              <a:solidFill>
                <a:srgbClr val="0655FA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72213" y="1905917"/>
            <a:ext cx="7606615" cy="3577307"/>
          </a:xfrm>
        </p:spPr>
        <p:txBody>
          <a:bodyPr/>
          <a:lstStyle>
            <a:lvl1pPr>
              <a:defRPr sz="48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62031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ggetto 8" hidden="1"/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842461624"/>
              </p:ext>
            </p:extLst>
          </p:nvPr>
        </p:nvGraphicFramePr>
        <p:xfrm>
          <a:off x="158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27" imgW="360" imgH="360" progId="TCLayout.ActiveDocument.1">
                  <p:embed/>
                </p:oleObj>
              </mc:Choice>
              <mc:Fallback>
                <p:oleObj name="Diapositiva think-cell" r:id="rId27" imgW="360" imgH="360" progId="TCLayout.ActiveDocument.1">
                  <p:embed/>
                  <p:pic>
                    <p:nvPicPr>
                      <p:cNvPr id="9" name="Oggetto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/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800" b="1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2001" y="670122"/>
            <a:ext cx="8375651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it-IT" noProof="0"/>
              <a:t>Fare clic per modificare lo stile del titolo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0" y="2055704"/>
            <a:ext cx="10664825" cy="4110147"/>
          </a:xfrm>
          <a:prstGeom prst="rect">
            <a:avLst/>
          </a:prstGeom>
        </p:spPr>
        <p:txBody>
          <a:bodyPr vert="horz" wrap="square" lIns="0" tIns="0" rIns="134997" bIns="0" rtlCol="0">
            <a:noAutofit/>
          </a:bodyPr>
          <a:lstStyle/>
          <a:p>
            <a:pPr lvl="0"/>
            <a:r>
              <a:rPr lang="it-IT" noProof="0"/>
              <a:t>Fare clic per modificare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64825" y="6264005"/>
            <a:ext cx="762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067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03225" y="688978"/>
            <a:ext cx="196851" cy="6826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9" tIns="45719" rIns="91439" bIns="45719" rtlCol="0" anchor="ctr"/>
          <a:lstStyle/>
          <a:p>
            <a:pPr algn="ctr"/>
            <a:endParaRPr lang="en-GB" sz="2400">
              <a:solidFill>
                <a:prstClr val="white"/>
              </a:solidFill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082249" y="687824"/>
            <a:ext cx="1345443" cy="6710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26084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2" r:id="rId21"/>
    <p:sldLayoutId id="2147483683" r:id="rId22"/>
    <p:sldLayoutId id="2147483685" r:id="rId23"/>
  </p:sldLayoutIdLst>
  <p:hf hdr="0" ft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54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/>
        <a:buNone/>
        <a:tabLst>
          <a:tab pos="1057222" algn="l"/>
        </a:tabLst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285737" indent="-285737" algn="l" defTabSz="91435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222" algn="l"/>
        </a:tabLst>
        <a:defRPr sz="1867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724" indent="-269861" algn="l" defTabSz="91435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222" algn="l"/>
        </a:tabLst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541312" indent="-271449" algn="l" defTabSz="91435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222" algn="l"/>
        </a:tabLst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541312" indent="-271449" algn="l" defTabSz="91435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80">
          <p15:clr>
            <a:srgbClr val="F26B43"/>
          </p15:clr>
        </p15:guide>
        <p15:guide id="4" pos="1920">
          <p15:clr>
            <a:srgbClr val="F26B43"/>
          </p15:clr>
        </p15:guide>
        <p15:guide id="5" pos="960">
          <p15:clr>
            <a:srgbClr val="F26B43"/>
          </p15:clr>
        </p15:guide>
        <p15:guide id="6" pos="1438">
          <p15:clr>
            <a:srgbClr val="F26B43"/>
          </p15:clr>
        </p15:guide>
        <p15:guide id="7" pos="2398">
          <p15:clr>
            <a:srgbClr val="F26B43"/>
          </p15:clr>
        </p15:guide>
        <p15:guide id="8" pos="2880">
          <p15:clr>
            <a:srgbClr val="F26B43"/>
          </p15:clr>
        </p15:guide>
        <p15:guide id="9" pos="3360">
          <p15:clr>
            <a:srgbClr val="F26B43"/>
          </p15:clr>
        </p15:guide>
        <p15:guide id="10" pos="4320">
          <p15:clr>
            <a:srgbClr val="F26B43"/>
          </p15:clr>
        </p15:guide>
        <p15:guide id="11" pos="4798">
          <p15:clr>
            <a:srgbClr val="F26B43"/>
          </p15:clr>
        </p15:guide>
        <p15:guide id="12" pos="5278">
          <p15:clr>
            <a:srgbClr val="F26B43"/>
          </p15:clr>
        </p15:guide>
        <p15:guide id="13" pos="5756">
          <p15:clr>
            <a:srgbClr val="F26B43"/>
          </p15:clr>
        </p15:guide>
        <p15:guide id="14" pos="6236">
          <p15:clr>
            <a:srgbClr val="F26B43"/>
          </p15:clr>
        </p15:guide>
        <p15:guide id="15" pos="6718">
          <p15:clr>
            <a:srgbClr val="F26B43"/>
          </p15:clr>
        </p15:guide>
        <p15:guide id="16" pos="7197">
          <p15:clr>
            <a:srgbClr val="F26B43"/>
          </p15:clr>
        </p15:guide>
        <p15:guide id="17" orient="horz" pos="1728">
          <p15:clr>
            <a:srgbClr val="F26B43"/>
          </p15:clr>
        </p15:guide>
        <p15:guide id="18" orient="horz" pos="1296">
          <p15:clr>
            <a:srgbClr val="F26B43"/>
          </p15:clr>
        </p15:guide>
        <p15:guide id="19" orient="horz" pos="864">
          <p15:clr>
            <a:srgbClr val="F26B43"/>
          </p15:clr>
        </p15:guide>
        <p15:guide id="20" orient="horz" pos="434">
          <p15:clr>
            <a:srgbClr val="F26B43"/>
          </p15:clr>
        </p15:guide>
        <p15:guide id="21" orient="horz" pos="2590">
          <p15:clr>
            <a:srgbClr val="F26B43"/>
          </p15:clr>
        </p15:guide>
        <p15:guide id="22" orient="horz" pos="3022">
          <p15:clr>
            <a:srgbClr val="F26B43"/>
          </p15:clr>
        </p15:guide>
        <p15:guide id="23" orient="horz" pos="3454">
          <p15:clr>
            <a:srgbClr val="F26B43"/>
          </p15:clr>
        </p15:guide>
        <p15:guide id="24" orient="horz" pos="38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6" Type="http://schemas.openxmlformats.org/officeDocument/2006/relationships/image" Target="../media/image9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13" Type="http://schemas.openxmlformats.org/officeDocument/2006/relationships/image" Target="../media/image16.png"/><Relationship Id="rId3" Type="http://schemas.openxmlformats.org/officeDocument/2006/relationships/tags" Target="../tags/tag18.xml"/><Relationship Id="rId7" Type="http://schemas.openxmlformats.org/officeDocument/2006/relationships/image" Target="../media/image11.png"/><Relationship Id="rId12" Type="http://schemas.openxmlformats.org/officeDocument/2006/relationships/image" Target="../media/image15.jpe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0.png"/><Relationship Id="rId11" Type="http://schemas.openxmlformats.org/officeDocument/2006/relationships/image" Target="../media/image14.jpe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9.jpeg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21.xml"/><Relationship Id="rId9" Type="http://schemas.openxmlformats.org/officeDocument/2006/relationships/image" Target="../media/image12.emf"/><Relationship Id="rId14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slideLayout" Target="../slideLayouts/slideLayout10.xml"/><Relationship Id="rId7" Type="http://schemas.openxmlformats.org/officeDocument/2006/relationships/chart" Target="../charts/chart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13" Type="http://schemas.openxmlformats.org/officeDocument/2006/relationships/image" Target="../media/image25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jpeg"/><Relationship Id="rId12" Type="http://schemas.openxmlformats.org/officeDocument/2006/relationships/image" Target="../media/image24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2.emf"/><Relationship Id="rId11" Type="http://schemas.openxmlformats.org/officeDocument/2006/relationships/image" Target="../media/image23.jpeg"/><Relationship Id="rId5" Type="http://schemas.openxmlformats.org/officeDocument/2006/relationships/oleObject" Target="../embeddings/oleObject12.bin"/><Relationship Id="rId15" Type="http://schemas.openxmlformats.org/officeDocument/2006/relationships/image" Target="../media/image27.jpeg"/><Relationship Id="rId10" Type="http://schemas.openxmlformats.org/officeDocument/2006/relationships/image" Target="../media/image22.jpe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21.jpeg"/><Relationship Id="rId14" Type="http://schemas.openxmlformats.org/officeDocument/2006/relationships/image" Target="../media/image26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>
            <a:extLst>
              <a:ext uri="{FF2B5EF4-FFF2-40B4-BE49-F238E27FC236}">
                <a16:creationId xmlns:a16="http://schemas.microsoft.com/office/drawing/2014/main" id="{C1F070EB-8762-439E-AA83-31F4DE2C71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44" imgH="344" progId="TCLayout.ActiveDocument.1">
                  <p:embed/>
                </p:oleObj>
              </mc:Choice>
              <mc:Fallback>
                <p:oleObj name="Diapositiva think-cell" r:id="rId4" imgW="344" imgH="344" progId="TCLayout.ActiveDocument.1">
                  <p:embed/>
                  <p:pic>
                    <p:nvPicPr>
                      <p:cNvPr id="8" name="Oggetto 7" hidden="1">
                        <a:extLst>
                          <a:ext uri="{FF2B5EF4-FFF2-40B4-BE49-F238E27FC236}">
                            <a16:creationId xmlns:a16="http://schemas.microsoft.com/office/drawing/2014/main" id="{C1F070EB-8762-439E-AA83-31F4DE2C71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807220" y="1653119"/>
            <a:ext cx="11121681" cy="1368425"/>
          </a:xfrm>
        </p:spPr>
        <p:txBody>
          <a:bodyPr vert="horz"/>
          <a:lstStyle/>
          <a:p>
            <a:pPr>
              <a:spcAft>
                <a:spcPts val="600"/>
              </a:spcAft>
            </a:pPr>
            <a:r>
              <a:rPr lang="it-IT" sz="3200" dirty="0"/>
              <a:t>Salone dell’</a:t>
            </a:r>
            <a:r>
              <a:rPr lang="it-IT" sz="3200" dirty="0" err="1"/>
              <a:t>agrivoltaico</a:t>
            </a:r>
            <a:br>
              <a:rPr lang="it-IT" sz="3200" dirty="0"/>
            </a:br>
            <a:br>
              <a:rPr lang="it-IT" sz="3200" dirty="0"/>
            </a:br>
            <a:r>
              <a:rPr lang="it-IT" sz="3200" dirty="0"/>
              <a:t>MACFRUT 2025</a:t>
            </a:r>
            <a:br>
              <a:rPr lang="it-IT" sz="3200" dirty="0"/>
            </a:br>
            <a:br>
              <a:rPr lang="it-IT" sz="3200" dirty="0"/>
            </a:br>
            <a:br>
              <a:rPr lang="it-IT" sz="3200" dirty="0"/>
            </a:br>
            <a:br>
              <a:rPr lang="it-IT" sz="3200" dirty="0"/>
            </a:br>
            <a:br>
              <a:rPr lang="it-IT" dirty="0"/>
            </a:br>
            <a:r>
              <a:rPr lang="it-IT" sz="2000" dirty="0"/>
              <a:t>Rimini, 07 Maggio 2025</a:t>
            </a:r>
            <a:br>
              <a:rPr lang="it-IT" sz="2800" dirty="0"/>
            </a:br>
            <a:br>
              <a:rPr lang="it-IT" sz="2800" dirty="0"/>
            </a:br>
            <a:br>
              <a:rPr lang="it-IT" sz="2800" dirty="0"/>
            </a:br>
            <a:endParaRPr lang="it-IT" sz="3600" b="0" dirty="0"/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AD9D5684-6F73-C339-5B5A-3E6992FD40F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28806" y="722179"/>
            <a:ext cx="3194217" cy="147807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" name="CasellaDiTesto 2">
            <a:extLst>
              <a:ext uri="{FF2B5EF4-FFF2-40B4-BE49-F238E27FC236}">
                <a16:creationId xmlns:a16="http://schemas.microsoft.com/office/drawing/2014/main" id="{08FC06B2-DA69-38E0-6610-A3D77E2B99A4}"/>
              </a:ext>
            </a:extLst>
          </p:cNvPr>
          <p:cNvSpPr txBox="1"/>
          <p:nvPr/>
        </p:nvSpPr>
        <p:spPr>
          <a:xfrm flipH="1">
            <a:off x="221665" y="167317"/>
            <a:ext cx="12085837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1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Le informazioni e i dati di seguito riportati costituiscono informazioni riservate e confidenziali </a:t>
            </a:r>
            <a:r>
              <a:rPr kumimoji="0" lang="it-IT" sz="1050" b="1" i="1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che in alcun modo potranno essere utilizzate, divulgate a terzi ovvero formare oggetto di studi, comunicati stampa o annunci pubblici</a:t>
            </a:r>
            <a:r>
              <a:rPr kumimoji="0" lang="it-IT" sz="1050" b="0" i="1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senza in preventivo consenso scritto di Enel.</a:t>
            </a:r>
          </a:p>
        </p:txBody>
      </p:sp>
    </p:spTree>
    <p:extLst>
      <p:ext uri="{BB962C8B-B14F-4D97-AF65-F5344CB8AC3E}">
        <p14:creationId xmlns:p14="http://schemas.microsoft.com/office/powerpoint/2010/main" val="6159063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uppo 21">
            <a:extLst>
              <a:ext uri="{FF2B5EF4-FFF2-40B4-BE49-F238E27FC236}">
                <a16:creationId xmlns:a16="http://schemas.microsoft.com/office/drawing/2014/main" id="{869CEB38-B3C3-FCFD-0B65-12E74C43051E}"/>
              </a:ext>
            </a:extLst>
          </p:cNvPr>
          <p:cNvGrpSpPr/>
          <p:nvPr/>
        </p:nvGrpSpPr>
        <p:grpSpPr>
          <a:xfrm>
            <a:off x="229008" y="3805280"/>
            <a:ext cx="3321221" cy="2571882"/>
            <a:chOff x="-988033" y="1161072"/>
            <a:chExt cx="3321221" cy="2571882"/>
          </a:xfrm>
        </p:grpSpPr>
        <p:pic>
          <p:nvPicPr>
            <p:cNvPr id="7" name="Immagine 6">
              <a:extLst>
                <a:ext uri="{FF2B5EF4-FFF2-40B4-BE49-F238E27FC236}">
                  <a16:creationId xmlns:a16="http://schemas.microsoft.com/office/drawing/2014/main" id="{1B4BAC12-DBDC-FD08-CB33-443F0B0989C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-988033" y="1161072"/>
              <a:ext cx="3321221" cy="2571882"/>
            </a:xfrm>
            <a:prstGeom prst="rect">
              <a:avLst/>
            </a:prstGeom>
          </p:spPr>
        </p:pic>
        <p:grpSp>
          <p:nvGrpSpPr>
            <p:cNvPr id="21" name="Gruppo 20">
              <a:extLst>
                <a:ext uri="{FF2B5EF4-FFF2-40B4-BE49-F238E27FC236}">
                  <a16:creationId xmlns:a16="http://schemas.microsoft.com/office/drawing/2014/main" id="{45AB7625-7399-4762-BDA2-FAFA8E243E02}"/>
                </a:ext>
              </a:extLst>
            </p:cNvPr>
            <p:cNvGrpSpPr/>
            <p:nvPr/>
          </p:nvGrpSpPr>
          <p:grpSpPr>
            <a:xfrm>
              <a:off x="-664656" y="1185809"/>
              <a:ext cx="2795091" cy="2243191"/>
              <a:chOff x="-664656" y="1185809"/>
              <a:chExt cx="2795091" cy="2243191"/>
            </a:xfrm>
          </p:grpSpPr>
          <p:sp>
            <p:nvSpPr>
              <p:cNvPr id="10" name="Segnaposto testo 6">
                <a:extLst>
                  <a:ext uri="{FF2B5EF4-FFF2-40B4-BE49-F238E27FC236}">
                    <a16:creationId xmlns:a16="http://schemas.microsoft.com/office/drawing/2014/main" id="{CDA3E166-A86A-C4F8-BF54-9AA4D7A7059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-664656" y="2573407"/>
                <a:ext cx="747165" cy="251232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Font typeface="Arial"/>
                  <a:buNone/>
                  <a:tabLst>
                    <a:tab pos="1057275" algn="l"/>
                  </a:tabLst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Lucida Grande"/>
                  <a:buChar char="-"/>
                  <a:tabLst>
                    <a:tab pos="1057275" algn="l"/>
                  </a:tabLst>
                  <a:defRPr sz="1800" i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39750" indent="-269875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Lucida Grande"/>
                  <a:buChar char="-"/>
                  <a:tabLst>
                    <a:tab pos="1057275" algn="l"/>
                  </a:tabLst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541338" indent="-271463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Lucida Grande"/>
                  <a:buChar char="-"/>
                  <a:tabLst>
                    <a:tab pos="1057275" algn="l"/>
                  </a:tabLst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541338" indent="-271463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Lucida Grande"/>
                  <a:buChar char="-"/>
                  <a:tabLst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 typeface="Arial"/>
                  <a:buNone/>
                  <a:tabLst>
                    <a:tab pos="1057275" algn="l"/>
                  </a:tabLst>
                  <a:defRPr/>
                </a:pPr>
                <a:r>
                  <a:rPr lang="it-IT" sz="1600" b="1" i="1" dirty="0">
                    <a:solidFill>
                      <a:schemeClr val="accent6">
                        <a:lumMod val="75000"/>
                      </a:schemeClr>
                    </a:solidFill>
                    <a:latin typeface="Calibri" panose="020F0502020204030204"/>
                  </a:rPr>
                  <a:t>33 GW</a:t>
                </a:r>
                <a:endParaRPr kumimoji="0" lang="it-IT" sz="1600" b="1" i="1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" name="Segnaposto testo 6">
                <a:extLst>
                  <a:ext uri="{FF2B5EF4-FFF2-40B4-BE49-F238E27FC236}">
                    <a16:creationId xmlns:a16="http://schemas.microsoft.com/office/drawing/2014/main" id="{238FDD1C-FBAC-F730-5DF1-FE468B47EBE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383270" y="1185809"/>
                <a:ext cx="747165" cy="251232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Font typeface="Arial"/>
                  <a:buNone/>
                  <a:tabLst>
                    <a:tab pos="1057275" algn="l"/>
                  </a:tabLst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Lucida Grande"/>
                  <a:buChar char="-"/>
                  <a:tabLst>
                    <a:tab pos="1057275" algn="l"/>
                  </a:tabLst>
                  <a:defRPr sz="1800" i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39750" indent="-269875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Lucida Grande"/>
                  <a:buChar char="-"/>
                  <a:tabLst>
                    <a:tab pos="1057275" algn="l"/>
                  </a:tabLst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541338" indent="-271463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Lucida Grande"/>
                  <a:buChar char="-"/>
                  <a:tabLst>
                    <a:tab pos="1057275" algn="l"/>
                  </a:tabLst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541338" indent="-271463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Lucida Grande"/>
                  <a:buChar char="-"/>
                  <a:tabLst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 typeface="Arial"/>
                  <a:buNone/>
                  <a:tabLst>
                    <a:tab pos="1057275" algn="l"/>
                  </a:tabLst>
                  <a:defRPr/>
                </a:pPr>
                <a:r>
                  <a:rPr lang="it-IT" sz="1600" b="1" i="1" dirty="0">
                    <a:solidFill>
                      <a:schemeClr val="accent6">
                        <a:lumMod val="75000"/>
                      </a:schemeClr>
                    </a:solidFill>
                    <a:latin typeface="Calibri" panose="020F0502020204030204"/>
                  </a:rPr>
                  <a:t>107 GW</a:t>
                </a:r>
                <a:endParaRPr kumimoji="0" lang="it-IT" sz="1600" b="1" i="1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13" name="Connettore diritto 12">
                <a:extLst>
                  <a:ext uri="{FF2B5EF4-FFF2-40B4-BE49-F238E27FC236}">
                    <a16:creationId xmlns:a16="http://schemas.microsoft.com/office/drawing/2014/main" id="{F78F938E-FA04-132F-DB0D-2B4C57041093}"/>
                  </a:ext>
                </a:extLst>
              </p:cNvPr>
              <p:cNvCxnSpPr/>
              <p:nvPr/>
            </p:nvCxnSpPr>
            <p:spPr>
              <a:xfrm flipV="1">
                <a:off x="161592" y="1437041"/>
                <a:ext cx="1221678" cy="1387598"/>
              </a:xfrm>
              <a:prstGeom prst="line">
                <a:avLst/>
              </a:prstGeom>
              <a:ln w="12700">
                <a:solidFill>
                  <a:schemeClr val="bg1">
                    <a:lumMod val="6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Connettore diritto 13">
                <a:extLst>
                  <a:ext uri="{FF2B5EF4-FFF2-40B4-BE49-F238E27FC236}">
                    <a16:creationId xmlns:a16="http://schemas.microsoft.com/office/drawing/2014/main" id="{EBD66983-470E-E900-26C2-DE538F62966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94795" y="1982123"/>
                <a:ext cx="1149021" cy="1049617"/>
              </a:xfrm>
              <a:prstGeom prst="line">
                <a:avLst/>
              </a:prstGeom>
              <a:ln w="12700">
                <a:solidFill>
                  <a:schemeClr val="bg1">
                    <a:lumMod val="6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Segnaposto testo 6">
                <a:extLst>
                  <a:ext uri="{FF2B5EF4-FFF2-40B4-BE49-F238E27FC236}">
                    <a16:creationId xmlns:a16="http://schemas.microsoft.com/office/drawing/2014/main" id="{B4385FE7-317B-E4EE-F55F-389830CE4CF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-484510" y="2903145"/>
                <a:ext cx="331948" cy="23178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Font typeface="Arial"/>
                  <a:buNone/>
                  <a:tabLst>
                    <a:tab pos="1057275" algn="l"/>
                  </a:tabLst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Lucida Grande"/>
                  <a:buChar char="-"/>
                  <a:tabLst>
                    <a:tab pos="1057275" algn="l"/>
                  </a:tabLst>
                  <a:defRPr sz="1800" i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39750" indent="-269875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Lucida Grande"/>
                  <a:buChar char="-"/>
                  <a:tabLst>
                    <a:tab pos="1057275" algn="l"/>
                  </a:tabLst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541338" indent="-271463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Lucida Grande"/>
                  <a:buChar char="-"/>
                  <a:tabLst>
                    <a:tab pos="1057275" algn="l"/>
                  </a:tabLst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541338" indent="-271463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Lucida Grande"/>
                  <a:buChar char="-"/>
                  <a:tabLst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 typeface="Arial"/>
                  <a:buNone/>
                  <a:tabLst>
                    <a:tab pos="1057275" algn="l"/>
                  </a:tabLst>
                  <a:defRPr/>
                </a:pPr>
                <a:r>
                  <a:rPr lang="it-IT" sz="1200" b="1" i="1" dirty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/>
                  </a:rPr>
                  <a:t>11</a:t>
                </a:r>
                <a:endParaRPr kumimoji="0" lang="it-IT" sz="1200" b="1" i="1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" name="Segnaposto testo 6">
                <a:extLst>
                  <a:ext uri="{FF2B5EF4-FFF2-40B4-BE49-F238E27FC236}">
                    <a16:creationId xmlns:a16="http://schemas.microsoft.com/office/drawing/2014/main" id="{80D078B9-691F-AB99-C844-51020438061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-484510" y="3197211"/>
                <a:ext cx="331948" cy="23178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Font typeface="Arial"/>
                  <a:buNone/>
                  <a:tabLst>
                    <a:tab pos="1057275" algn="l"/>
                  </a:tabLst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Lucida Grande"/>
                  <a:buChar char="-"/>
                  <a:tabLst>
                    <a:tab pos="1057275" algn="l"/>
                  </a:tabLst>
                  <a:defRPr sz="1800" i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39750" indent="-269875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Lucida Grande"/>
                  <a:buChar char="-"/>
                  <a:tabLst>
                    <a:tab pos="1057275" algn="l"/>
                  </a:tabLst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541338" indent="-271463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Lucida Grande"/>
                  <a:buChar char="-"/>
                  <a:tabLst>
                    <a:tab pos="1057275" algn="l"/>
                  </a:tabLst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541338" indent="-271463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Lucida Grande"/>
                  <a:buChar char="-"/>
                  <a:tabLst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 typeface="Arial"/>
                  <a:buNone/>
                  <a:tabLst>
                    <a:tab pos="1057275" algn="l"/>
                  </a:tabLst>
                  <a:defRPr/>
                </a:pPr>
                <a:r>
                  <a:rPr kumimoji="0" lang="it-IT" sz="1200" b="1" i="1" u="none" strike="noStrike" kern="1200" cap="none" spc="0" normalizeH="0" baseline="0" noProof="0" dirty="0">
                    <a:ln>
                      <a:noFill/>
                    </a:ln>
                    <a:solidFill>
                      <a:schemeClr val="bg1">
                        <a:lumMod val="50000"/>
                      </a:scheme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22</a:t>
                </a:r>
              </a:p>
            </p:txBody>
          </p:sp>
          <p:sp>
            <p:nvSpPr>
              <p:cNvPr id="19" name="Segnaposto testo 6">
                <a:extLst>
                  <a:ext uri="{FF2B5EF4-FFF2-40B4-BE49-F238E27FC236}">
                    <a16:creationId xmlns:a16="http://schemas.microsoft.com/office/drawing/2014/main" id="{09D70397-5361-4394-E3E7-DA9CD4CC8EE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526281" y="1634363"/>
                <a:ext cx="331948" cy="23178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Font typeface="Arial"/>
                  <a:buNone/>
                  <a:tabLst>
                    <a:tab pos="1057275" algn="l"/>
                  </a:tabLst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Lucida Grande"/>
                  <a:buChar char="-"/>
                  <a:tabLst>
                    <a:tab pos="1057275" algn="l"/>
                  </a:tabLst>
                  <a:defRPr sz="1800" i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39750" indent="-269875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Lucida Grande"/>
                  <a:buChar char="-"/>
                  <a:tabLst>
                    <a:tab pos="1057275" algn="l"/>
                  </a:tabLst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541338" indent="-271463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Lucida Grande"/>
                  <a:buChar char="-"/>
                  <a:tabLst>
                    <a:tab pos="1057275" algn="l"/>
                  </a:tabLst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541338" indent="-271463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Lucida Grande"/>
                  <a:buChar char="-"/>
                  <a:tabLst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 typeface="Arial"/>
                  <a:buNone/>
                  <a:tabLst>
                    <a:tab pos="1057275" algn="l"/>
                  </a:tabLst>
                  <a:defRPr/>
                </a:pPr>
                <a:r>
                  <a:rPr kumimoji="0" lang="it-IT" sz="1200" b="1" i="1" u="none" strike="noStrike" kern="1200" cap="none" spc="0" normalizeH="0" baseline="0" noProof="0" dirty="0">
                    <a:ln>
                      <a:noFill/>
                    </a:ln>
                    <a:solidFill>
                      <a:schemeClr val="bg1">
                        <a:lumMod val="50000"/>
                      </a:scheme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28</a:t>
                </a:r>
              </a:p>
            </p:txBody>
          </p:sp>
          <p:sp>
            <p:nvSpPr>
              <p:cNvPr id="20" name="Segnaposto testo 6">
                <a:extLst>
                  <a:ext uri="{FF2B5EF4-FFF2-40B4-BE49-F238E27FC236}">
                    <a16:creationId xmlns:a16="http://schemas.microsoft.com/office/drawing/2014/main" id="{78513434-86C9-593B-1754-8FB1F5F02B6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535337" y="2623393"/>
                <a:ext cx="331948" cy="23178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Font typeface="Arial"/>
                  <a:buNone/>
                  <a:tabLst>
                    <a:tab pos="1057275" algn="l"/>
                  </a:tabLst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Lucida Grande"/>
                  <a:buChar char="-"/>
                  <a:tabLst>
                    <a:tab pos="1057275" algn="l"/>
                  </a:tabLst>
                  <a:defRPr sz="1800" i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39750" indent="-269875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Lucida Grande"/>
                  <a:buChar char="-"/>
                  <a:tabLst>
                    <a:tab pos="1057275" algn="l"/>
                  </a:tabLst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541338" indent="-271463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Lucida Grande"/>
                  <a:buChar char="-"/>
                  <a:tabLst>
                    <a:tab pos="1057275" algn="l"/>
                  </a:tabLst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541338" indent="-271463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Lucida Grande"/>
                  <a:buChar char="-"/>
                  <a:tabLst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 typeface="Arial"/>
                  <a:buNone/>
                  <a:tabLst>
                    <a:tab pos="1057275" algn="l"/>
                  </a:tabLst>
                  <a:defRPr/>
                </a:pPr>
                <a:r>
                  <a:rPr lang="it-IT" sz="1200" b="1" i="1" dirty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/>
                  </a:rPr>
                  <a:t>79</a:t>
                </a:r>
                <a:endParaRPr kumimoji="0" lang="it-IT" sz="1200" b="1" i="1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44" name="Immagine 43">
            <a:extLst>
              <a:ext uri="{FF2B5EF4-FFF2-40B4-BE49-F238E27FC236}">
                <a16:creationId xmlns:a16="http://schemas.microsoft.com/office/drawing/2014/main" id="{AB8DAB85-4E16-4F19-955E-2B87D3A17AB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03412" y="3077028"/>
            <a:ext cx="7191378" cy="3287488"/>
          </a:xfrm>
          <a:prstGeom prst="rect">
            <a:avLst/>
          </a:prstGeom>
        </p:spPr>
      </p:pic>
      <p:sp>
        <p:nvSpPr>
          <p:cNvPr id="2" name="Rettangolo 1">
            <a:extLst>
              <a:ext uri="{FF2B5EF4-FFF2-40B4-BE49-F238E27FC236}">
                <a16:creationId xmlns:a16="http://schemas.microsoft.com/office/drawing/2014/main" id="{2FCDF41E-1DDD-4D48-A6EE-083EC34B3202}"/>
              </a:ext>
            </a:extLst>
          </p:cNvPr>
          <p:cNvSpPr/>
          <p:nvPr/>
        </p:nvSpPr>
        <p:spPr>
          <a:xfrm>
            <a:off x="4121116" y="2411688"/>
            <a:ext cx="8030642" cy="3785164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9" name="Oggetto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8" imgW="444" imgH="446" progId="TCLayout.ActiveDocument.1">
                  <p:embed/>
                </p:oleObj>
              </mc:Choice>
              <mc:Fallback>
                <p:oleObj name="Diapositiva think-cell" r:id="rId8" imgW="444" imgH="446" progId="TCLayout.ActiveDocument.1">
                  <p:embed/>
                  <p:pic>
                    <p:nvPicPr>
                      <p:cNvPr id="9" name="Oggetto 8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tangolo 7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800" b="1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0" name="Rettangolo 99">
            <a:extLst>
              <a:ext uri="{FF2B5EF4-FFF2-40B4-BE49-F238E27FC236}">
                <a16:creationId xmlns:a16="http://schemas.microsoft.com/office/drawing/2014/main" id="{F4D51434-370B-40CA-B19F-51710107967C}"/>
              </a:ext>
            </a:extLst>
          </p:cNvPr>
          <p:cNvSpPr/>
          <p:nvPr/>
        </p:nvSpPr>
        <p:spPr>
          <a:xfrm>
            <a:off x="4837243" y="3689556"/>
            <a:ext cx="4539093" cy="2663489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rgbClr val="C6C6C6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144000" rIns="72000" bIns="36000"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1" name="Pentagono 5">
            <a:extLst>
              <a:ext uri="{FF2B5EF4-FFF2-40B4-BE49-F238E27FC236}">
                <a16:creationId xmlns:a16="http://schemas.microsoft.com/office/drawing/2014/main" id="{9BC09B6B-5388-4272-835B-48B03290C495}"/>
              </a:ext>
            </a:extLst>
          </p:cNvPr>
          <p:cNvSpPr/>
          <p:nvPr/>
        </p:nvSpPr>
        <p:spPr>
          <a:xfrm>
            <a:off x="1011529" y="2447013"/>
            <a:ext cx="10142340" cy="270741"/>
          </a:xfrm>
          <a:prstGeom prst="homePlate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42000">
                <a:srgbClr val="9DB1CF"/>
              </a:gs>
              <a:gs pos="100000">
                <a:srgbClr val="4C6C9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2" name="Picture 2" descr="Reducing transport emissions - low carbon liquids, hydrogen and carbon  capture">
            <a:extLst>
              <a:ext uri="{FF2B5EF4-FFF2-40B4-BE49-F238E27FC236}">
                <a16:creationId xmlns:a16="http://schemas.microsoft.com/office/drawing/2014/main" id="{EA4A1A80-B51C-45F0-9422-C9ECFC54F5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8807" y="1992607"/>
            <a:ext cx="1704609" cy="102276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Picture 4" descr="TerraClean for engine decarbonisation in Bristol">
            <a:extLst>
              <a:ext uri="{FF2B5EF4-FFF2-40B4-BE49-F238E27FC236}">
                <a16:creationId xmlns:a16="http://schemas.microsoft.com/office/drawing/2014/main" id="{642EBD37-E63D-49AB-B854-D5F32FE195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6703" y="2300256"/>
            <a:ext cx="1039698" cy="83258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4" name="Segnaposto testo 6">
            <a:extLst>
              <a:ext uri="{FF2B5EF4-FFF2-40B4-BE49-F238E27FC236}">
                <a16:creationId xmlns:a16="http://schemas.microsoft.com/office/drawing/2014/main" id="{98CC886A-F51C-4F93-83A4-0ED4E2B3E22D}"/>
              </a:ext>
            </a:extLst>
          </p:cNvPr>
          <p:cNvSpPr txBox="1">
            <a:spLocks/>
          </p:cNvSpPr>
          <p:nvPr/>
        </p:nvSpPr>
        <p:spPr>
          <a:xfrm>
            <a:off x="4309450" y="2470209"/>
            <a:ext cx="2800447" cy="31337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/>
              <a:buNone/>
              <a:tabLst>
                <a:tab pos="1057275" algn="l"/>
              </a:tabLst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… allo scenario «</a:t>
            </a:r>
            <a:r>
              <a:rPr kumimoji="0" lang="it-IT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t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or 55»</a:t>
            </a:r>
          </a:p>
        </p:txBody>
      </p:sp>
      <p:sp>
        <p:nvSpPr>
          <p:cNvPr id="105" name="Segnaposto testo 6">
            <a:extLst>
              <a:ext uri="{FF2B5EF4-FFF2-40B4-BE49-F238E27FC236}">
                <a16:creationId xmlns:a16="http://schemas.microsoft.com/office/drawing/2014/main" id="{1BB1D47C-4E3B-43B1-8867-71956B43044D}"/>
              </a:ext>
            </a:extLst>
          </p:cNvPr>
          <p:cNvSpPr txBox="1">
            <a:spLocks/>
          </p:cNvSpPr>
          <p:nvPr/>
        </p:nvSpPr>
        <p:spPr>
          <a:xfrm>
            <a:off x="2130435" y="2450016"/>
            <a:ext cx="3628856" cy="26891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/>
              <a:buNone/>
              <a:tabLst>
                <a:tab pos="1057275" algn="l"/>
              </a:tabLst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i target precedenti …</a:t>
            </a:r>
          </a:p>
        </p:txBody>
      </p:sp>
      <p:sp>
        <p:nvSpPr>
          <p:cNvPr id="107" name="Segnaposto testo 6">
            <a:extLst>
              <a:ext uri="{FF2B5EF4-FFF2-40B4-BE49-F238E27FC236}">
                <a16:creationId xmlns:a16="http://schemas.microsoft.com/office/drawing/2014/main" id="{65E4A5F9-5520-49FE-8B72-9949CA6D00F9}"/>
              </a:ext>
            </a:extLst>
          </p:cNvPr>
          <p:cNvSpPr txBox="1">
            <a:spLocks/>
          </p:cNvSpPr>
          <p:nvPr/>
        </p:nvSpPr>
        <p:spPr>
          <a:xfrm>
            <a:off x="10104274" y="2450016"/>
            <a:ext cx="1590496" cy="26891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/>
              <a:buNone/>
              <a:tabLst>
                <a:tab pos="1057275" algn="l"/>
              </a:tabLst>
              <a:defRPr/>
            </a:pPr>
            <a:r>
              <a:rPr kumimoji="0" lang="it-IT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30</a:t>
            </a:r>
          </a:p>
        </p:txBody>
      </p:sp>
      <p:sp>
        <p:nvSpPr>
          <p:cNvPr id="108" name="TextBox 104">
            <a:extLst>
              <a:ext uri="{FF2B5EF4-FFF2-40B4-BE49-F238E27FC236}">
                <a16:creationId xmlns:a16="http://schemas.microsoft.com/office/drawing/2014/main" id="{3937984D-FE1C-479F-BF33-54CB7F30EC54}"/>
              </a:ext>
            </a:extLst>
          </p:cNvPr>
          <p:cNvSpPr txBox="1"/>
          <p:nvPr/>
        </p:nvSpPr>
        <p:spPr>
          <a:xfrm>
            <a:off x="5748840" y="1876029"/>
            <a:ext cx="1188000" cy="51982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55%  GHG</a:t>
            </a:r>
            <a:b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s 1990</a:t>
            </a:r>
            <a:endParaRPr kumimoji="0" lang="it-IT" sz="12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Freeform 501">
            <a:extLst>
              <a:ext uri="{FF2B5EF4-FFF2-40B4-BE49-F238E27FC236}">
                <a16:creationId xmlns:a16="http://schemas.microsoft.com/office/drawing/2014/main" id="{118650FF-B2E0-4525-9C0B-3D0A3C2A52F7}"/>
              </a:ext>
            </a:extLst>
          </p:cNvPr>
          <p:cNvSpPr>
            <a:spLocks noEditPoints="1"/>
          </p:cNvSpPr>
          <p:nvPr>
            <p:custDataLst>
              <p:tags r:id="rId3"/>
            </p:custDataLst>
          </p:nvPr>
        </p:nvSpPr>
        <p:spPr bwMode="auto">
          <a:xfrm>
            <a:off x="5791361" y="1846445"/>
            <a:ext cx="616743" cy="304443"/>
          </a:xfrm>
          <a:custGeom>
            <a:avLst/>
            <a:gdLst>
              <a:gd name="T0" fmla="*/ 450 w 500"/>
              <a:gd name="T1" fmla="*/ 71 h 305"/>
              <a:gd name="T2" fmla="*/ 422 w 500"/>
              <a:gd name="T3" fmla="*/ 60 h 305"/>
              <a:gd name="T4" fmla="*/ 366 w 500"/>
              <a:gd name="T5" fmla="*/ 54 h 305"/>
              <a:gd name="T6" fmla="*/ 299 w 500"/>
              <a:gd name="T7" fmla="*/ 46 h 305"/>
              <a:gd name="T8" fmla="*/ 265 w 500"/>
              <a:gd name="T9" fmla="*/ 53 h 305"/>
              <a:gd name="T10" fmla="*/ 264 w 500"/>
              <a:gd name="T11" fmla="*/ 53 h 305"/>
              <a:gd name="T12" fmla="*/ 265 w 500"/>
              <a:gd name="T13" fmla="*/ 51 h 305"/>
              <a:gd name="T14" fmla="*/ 265 w 500"/>
              <a:gd name="T15" fmla="*/ 51 h 305"/>
              <a:gd name="T16" fmla="*/ 264 w 500"/>
              <a:gd name="T17" fmla="*/ 51 h 305"/>
              <a:gd name="T18" fmla="*/ 265 w 500"/>
              <a:gd name="T19" fmla="*/ 58 h 305"/>
              <a:gd name="T20" fmla="*/ 263 w 500"/>
              <a:gd name="T21" fmla="*/ 51 h 305"/>
              <a:gd name="T22" fmla="*/ 262 w 500"/>
              <a:gd name="T23" fmla="*/ 53 h 305"/>
              <a:gd name="T24" fmla="*/ 262 w 500"/>
              <a:gd name="T25" fmla="*/ 56 h 305"/>
              <a:gd name="T26" fmla="*/ 262 w 500"/>
              <a:gd name="T27" fmla="*/ 58 h 305"/>
              <a:gd name="T28" fmla="*/ 339 w 500"/>
              <a:gd name="T29" fmla="*/ 54 h 305"/>
              <a:gd name="T30" fmla="*/ 264 w 500"/>
              <a:gd name="T31" fmla="*/ 56 h 305"/>
              <a:gd name="T32" fmla="*/ 263 w 500"/>
              <a:gd name="T33" fmla="*/ 56 h 305"/>
              <a:gd name="T34" fmla="*/ 260 w 500"/>
              <a:gd name="T35" fmla="*/ 52 h 305"/>
              <a:gd name="T36" fmla="*/ 263 w 500"/>
              <a:gd name="T37" fmla="*/ 52 h 305"/>
              <a:gd name="T38" fmla="*/ 494 w 500"/>
              <a:gd name="T39" fmla="*/ 169 h 305"/>
              <a:gd name="T40" fmla="*/ 465 w 500"/>
              <a:gd name="T41" fmla="*/ 217 h 305"/>
              <a:gd name="T42" fmla="*/ 167 w 500"/>
              <a:gd name="T43" fmla="*/ 304 h 305"/>
              <a:gd name="T44" fmla="*/ 2 w 500"/>
              <a:gd name="T45" fmla="*/ 232 h 305"/>
              <a:gd name="T46" fmla="*/ 61 w 500"/>
              <a:gd name="T47" fmla="*/ 102 h 305"/>
              <a:gd name="T48" fmla="*/ 180 w 500"/>
              <a:gd name="T49" fmla="*/ 28 h 305"/>
              <a:gd name="T50" fmla="*/ 304 w 500"/>
              <a:gd name="T51" fmla="*/ 1 h 305"/>
              <a:gd name="T52" fmla="*/ 398 w 500"/>
              <a:gd name="T53" fmla="*/ 6 h 305"/>
              <a:gd name="T54" fmla="*/ 416 w 500"/>
              <a:gd name="T55" fmla="*/ 12 h 305"/>
              <a:gd name="T56" fmla="*/ 424 w 500"/>
              <a:gd name="T57" fmla="*/ 14 h 305"/>
              <a:gd name="T58" fmla="*/ 431 w 500"/>
              <a:gd name="T59" fmla="*/ 19 h 305"/>
              <a:gd name="T60" fmla="*/ 431 w 500"/>
              <a:gd name="T61" fmla="*/ 26 h 305"/>
              <a:gd name="T62" fmla="*/ 423 w 500"/>
              <a:gd name="T63" fmla="*/ 32 h 305"/>
              <a:gd name="T64" fmla="*/ 416 w 500"/>
              <a:gd name="T65" fmla="*/ 31 h 305"/>
              <a:gd name="T66" fmla="*/ 411 w 500"/>
              <a:gd name="T67" fmla="*/ 27 h 305"/>
              <a:gd name="T68" fmla="*/ 383 w 500"/>
              <a:gd name="T69" fmla="*/ 20 h 305"/>
              <a:gd name="T70" fmla="*/ 196 w 500"/>
              <a:gd name="T71" fmla="*/ 38 h 305"/>
              <a:gd name="T72" fmla="*/ 59 w 500"/>
              <a:gd name="T73" fmla="*/ 125 h 305"/>
              <a:gd name="T74" fmla="*/ 51 w 500"/>
              <a:gd name="T75" fmla="*/ 267 h 305"/>
              <a:gd name="T76" fmla="*/ 251 w 500"/>
              <a:gd name="T77" fmla="*/ 289 h 305"/>
              <a:gd name="T78" fmla="*/ 456 w 500"/>
              <a:gd name="T79" fmla="*/ 207 h 305"/>
              <a:gd name="T80" fmla="*/ 487 w 500"/>
              <a:gd name="T81" fmla="*/ 146 h 305"/>
              <a:gd name="T82" fmla="*/ 462 w 500"/>
              <a:gd name="T83" fmla="*/ 91 h 305"/>
              <a:gd name="T84" fmla="*/ 402 w 500"/>
              <a:gd name="T85" fmla="*/ 64 h 305"/>
              <a:gd name="T86" fmla="*/ 367 w 500"/>
              <a:gd name="T87" fmla="*/ 55 h 305"/>
              <a:gd name="T88" fmla="*/ 262 w 500"/>
              <a:gd name="T89" fmla="*/ 58 h 305"/>
              <a:gd name="T90" fmla="*/ 330 w 500"/>
              <a:gd name="T91" fmla="*/ 51 h 305"/>
              <a:gd name="T92" fmla="*/ 418 w 500"/>
              <a:gd name="T93" fmla="*/ 66 h 305"/>
              <a:gd name="T94" fmla="*/ 338 w 500"/>
              <a:gd name="T95" fmla="*/ 47 h 305"/>
              <a:gd name="T96" fmla="*/ 375 w 500"/>
              <a:gd name="T97" fmla="*/ 51 h 305"/>
              <a:gd name="T98" fmla="*/ 369 w 500"/>
              <a:gd name="T99" fmla="*/ 49 h 305"/>
              <a:gd name="T100" fmla="*/ 320 w 500"/>
              <a:gd name="T101" fmla="*/ 45 h 305"/>
              <a:gd name="T102" fmla="*/ 321 w 500"/>
              <a:gd name="T103" fmla="*/ 44 h 305"/>
              <a:gd name="T104" fmla="*/ 307 w 500"/>
              <a:gd name="T105" fmla="*/ 44 h 305"/>
              <a:gd name="T106" fmla="*/ 360 w 500"/>
              <a:gd name="T107" fmla="*/ 45 h 305"/>
              <a:gd name="T108" fmla="*/ 424 w 500"/>
              <a:gd name="T109" fmla="*/ 61 h 305"/>
              <a:gd name="T110" fmla="*/ 480 w 500"/>
              <a:gd name="T111" fmla="*/ 91 h 305"/>
              <a:gd name="T112" fmla="*/ 500 w 500"/>
              <a:gd name="T113" fmla="*/ 148 h 305"/>
              <a:gd name="T114" fmla="*/ 366 w 500"/>
              <a:gd name="T115" fmla="*/ 47 h 305"/>
              <a:gd name="T116" fmla="*/ 391 w 500"/>
              <a:gd name="T117" fmla="*/ 61 h 3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00" h="305">
                <a:moveTo>
                  <a:pt x="484" y="124"/>
                </a:moveTo>
                <a:cubicBezTo>
                  <a:pt x="485" y="125"/>
                  <a:pt x="485" y="127"/>
                  <a:pt x="485" y="128"/>
                </a:cubicBezTo>
                <a:lnTo>
                  <a:pt x="484" y="124"/>
                </a:lnTo>
                <a:close/>
                <a:moveTo>
                  <a:pt x="450" y="71"/>
                </a:moveTo>
                <a:cubicBezTo>
                  <a:pt x="449" y="70"/>
                  <a:pt x="448" y="69"/>
                  <a:pt x="445" y="68"/>
                </a:cubicBezTo>
                <a:cubicBezTo>
                  <a:pt x="445" y="68"/>
                  <a:pt x="449" y="70"/>
                  <a:pt x="450" y="71"/>
                </a:cubicBezTo>
                <a:close/>
                <a:moveTo>
                  <a:pt x="438" y="65"/>
                </a:moveTo>
                <a:cubicBezTo>
                  <a:pt x="440" y="66"/>
                  <a:pt x="443" y="67"/>
                  <a:pt x="443" y="67"/>
                </a:cubicBezTo>
                <a:cubicBezTo>
                  <a:pt x="442" y="67"/>
                  <a:pt x="438" y="65"/>
                  <a:pt x="438" y="65"/>
                </a:cubicBezTo>
                <a:close/>
                <a:moveTo>
                  <a:pt x="422" y="60"/>
                </a:moveTo>
                <a:cubicBezTo>
                  <a:pt x="420" y="60"/>
                  <a:pt x="417" y="58"/>
                  <a:pt x="417" y="58"/>
                </a:cubicBezTo>
                <a:cubicBezTo>
                  <a:pt x="418" y="59"/>
                  <a:pt x="421" y="60"/>
                  <a:pt x="422" y="60"/>
                </a:cubicBezTo>
                <a:close/>
                <a:moveTo>
                  <a:pt x="413" y="55"/>
                </a:moveTo>
                <a:cubicBezTo>
                  <a:pt x="410" y="54"/>
                  <a:pt x="405" y="52"/>
                  <a:pt x="404" y="52"/>
                </a:cubicBezTo>
                <a:cubicBezTo>
                  <a:pt x="408" y="53"/>
                  <a:pt x="411" y="54"/>
                  <a:pt x="413" y="55"/>
                </a:cubicBezTo>
                <a:close/>
                <a:moveTo>
                  <a:pt x="366" y="54"/>
                </a:moveTo>
                <a:cubicBezTo>
                  <a:pt x="370" y="55"/>
                  <a:pt x="379" y="56"/>
                  <a:pt x="384" y="57"/>
                </a:cubicBezTo>
                <a:cubicBezTo>
                  <a:pt x="379" y="56"/>
                  <a:pt x="372" y="55"/>
                  <a:pt x="366" y="54"/>
                </a:cubicBezTo>
                <a:close/>
                <a:moveTo>
                  <a:pt x="366" y="49"/>
                </a:moveTo>
                <a:cubicBezTo>
                  <a:pt x="361" y="48"/>
                  <a:pt x="361" y="48"/>
                  <a:pt x="361" y="48"/>
                </a:cubicBezTo>
                <a:cubicBezTo>
                  <a:pt x="359" y="48"/>
                  <a:pt x="347" y="47"/>
                  <a:pt x="348" y="47"/>
                </a:cubicBezTo>
                <a:cubicBezTo>
                  <a:pt x="356" y="47"/>
                  <a:pt x="366" y="49"/>
                  <a:pt x="372" y="50"/>
                </a:cubicBezTo>
                <a:cubicBezTo>
                  <a:pt x="370" y="50"/>
                  <a:pt x="368" y="50"/>
                  <a:pt x="366" y="49"/>
                </a:cubicBezTo>
                <a:close/>
                <a:moveTo>
                  <a:pt x="299" y="46"/>
                </a:moveTo>
                <a:cubicBezTo>
                  <a:pt x="296" y="46"/>
                  <a:pt x="296" y="46"/>
                  <a:pt x="296" y="46"/>
                </a:cubicBezTo>
                <a:cubicBezTo>
                  <a:pt x="296" y="47"/>
                  <a:pt x="296" y="47"/>
                  <a:pt x="297" y="47"/>
                </a:cubicBezTo>
                <a:cubicBezTo>
                  <a:pt x="299" y="46"/>
                  <a:pt x="299" y="46"/>
                  <a:pt x="299" y="46"/>
                </a:cubicBezTo>
                <a:close/>
                <a:moveTo>
                  <a:pt x="264" y="53"/>
                </a:moveTo>
                <a:cubicBezTo>
                  <a:pt x="264" y="53"/>
                  <a:pt x="264" y="53"/>
                  <a:pt x="264" y="53"/>
                </a:cubicBezTo>
                <a:cubicBezTo>
                  <a:pt x="264" y="53"/>
                  <a:pt x="265" y="53"/>
                  <a:pt x="265" y="53"/>
                </a:cubicBezTo>
                <a:cubicBezTo>
                  <a:pt x="265" y="53"/>
                  <a:pt x="265" y="53"/>
                  <a:pt x="265" y="53"/>
                </a:cubicBezTo>
                <a:cubicBezTo>
                  <a:pt x="269" y="52"/>
                  <a:pt x="269" y="52"/>
                  <a:pt x="269" y="52"/>
                </a:cubicBezTo>
                <a:lnTo>
                  <a:pt x="264" y="53"/>
                </a:lnTo>
                <a:close/>
                <a:moveTo>
                  <a:pt x="264" y="53"/>
                </a:moveTo>
                <a:cubicBezTo>
                  <a:pt x="264" y="53"/>
                  <a:pt x="264" y="53"/>
                  <a:pt x="264" y="53"/>
                </a:cubicBezTo>
                <a:cubicBezTo>
                  <a:pt x="264" y="53"/>
                  <a:pt x="264" y="53"/>
                  <a:pt x="264" y="53"/>
                </a:cubicBezTo>
                <a:cubicBezTo>
                  <a:pt x="263" y="53"/>
                  <a:pt x="264" y="53"/>
                  <a:pt x="264" y="53"/>
                </a:cubicBezTo>
                <a:close/>
                <a:moveTo>
                  <a:pt x="264" y="53"/>
                </a:moveTo>
                <a:cubicBezTo>
                  <a:pt x="264" y="53"/>
                  <a:pt x="264" y="53"/>
                  <a:pt x="264" y="53"/>
                </a:cubicBezTo>
                <a:cubicBezTo>
                  <a:pt x="264" y="53"/>
                  <a:pt x="264" y="53"/>
                  <a:pt x="264" y="53"/>
                </a:cubicBezTo>
                <a:cubicBezTo>
                  <a:pt x="264" y="53"/>
                  <a:pt x="264" y="53"/>
                  <a:pt x="264" y="53"/>
                </a:cubicBezTo>
                <a:close/>
                <a:moveTo>
                  <a:pt x="265" y="51"/>
                </a:moveTo>
                <a:cubicBezTo>
                  <a:pt x="264" y="51"/>
                  <a:pt x="264" y="51"/>
                  <a:pt x="264" y="51"/>
                </a:cubicBezTo>
                <a:cubicBezTo>
                  <a:pt x="264" y="51"/>
                  <a:pt x="264" y="51"/>
                  <a:pt x="264" y="51"/>
                </a:cubicBezTo>
                <a:cubicBezTo>
                  <a:pt x="264" y="51"/>
                  <a:pt x="264" y="51"/>
                  <a:pt x="265" y="51"/>
                </a:cubicBezTo>
                <a:cubicBezTo>
                  <a:pt x="265" y="51"/>
                  <a:pt x="265" y="51"/>
                  <a:pt x="265" y="51"/>
                </a:cubicBezTo>
                <a:cubicBezTo>
                  <a:pt x="265" y="51"/>
                  <a:pt x="265" y="51"/>
                  <a:pt x="265" y="50"/>
                </a:cubicBezTo>
                <a:cubicBezTo>
                  <a:pt x="265" y="51"/>
                  <a:pt x="265" y="51"/>
                  <a:pt x="265" y="51"/>
                </a:cubicBezTo>
                <a:close/>
                <a:moveTo>
                  <a:pt x="265" y="57"/>
                </a:moveTo>
                <a:cubicBezTo>
                  <a:pt x="265" y="57"/>
                  <a:pt x="265" y="57"/>
                  <a:pt x="265" y="57"/>
                </a:cubicBezTo>
                <a:cubicBezTo>
                  <a:pt x="265" y="57"/>
                  <a:pt x="265" y="57"/>
                  <a:pt x="265" y="57"/>
                </a:cubicBezTo>
                <a:close/>
                <a:moveTo>
                  <a:pt x="264" y="51"/>
                </a:moveTo>
                <a:cubicBezTo>
                  <a:pt x="264" y="51"/>
                  <a:pt x="264" y="52"/>
                  <a:pt x="264" y="52"/>
                </a:cubicBezTo>
                <a:cubicBezTo>
                  <a:pt x="264" y="52"/>
                  <a:pt x="264" y="52"/>
                  <a:pt x="264" y="51"/>
                </a:cubicBezTo>
                <a:close/>
                <a:moveTo>
                  <a:pt x="264" y="51"/>
                </a:moveTo>
                <a:cubicBezTo>
                  <a:pt x="264" y="51"/>
                  <a:pt x="264" y="51"/>
                  <a:pt x="264" y="51"/>
                </a:cubicBezTo>
                <a:cubicBezTo>
                  <a:pt x="264" y="51"/>
                  <a:pt x="264" y="51"/>
                  <a:pt x="264" y="51"/>
                </a:cubicBezTo>
                <a:close/>
                <a:moveTo>
                  <a:pt x="265" y="58"/>
                </a:moveTo>
                <a:cubicBezTo>
                  <a:pt x="265" y="58"/>
                  <a:pt x="265" y="58"/>
                  <a:pt x="265" y="58"/>
                </a:cubicBezTo>
                <a:cubicBezTo>
                  <a:pt x="265" y="58"/>
                  <a:pt x="265" y="58"/>
                  <a:pt x="265" y="58"/>
                </a:cubicBezTo>
                <a:close/>
                <a:moveTo>
                  <a:pt x="265" y="57"/>
                </a:moveTo>
                <a:cubicBezTo>
                  <a:pt x="264" y="57"/>
                  <a:pt x="264" y="57"/>
                  <a:pt x="264" y="57"/>
                </a:cubicBezTo>
                <a:cubicBezTo>
                  <a:pt x="264" y="57"/>
                  <a:pt x="265" y="57"/>
                  <a:pt x="265" y="57"/>
                </a:cubicBezTo>
                <a:close/>
                <a:moveTo>
                  <a:pt x="263" y="51"/>
                </a:moveTo>
                <a:cubicBezTo>
                  <a:pt x="263" y="51"/>
                  <a:pt x="263" y="51"/>
                  <a:pt x="263" y="51"/>
                </a:cubicBezTo>
                <a:cubicBezTo>
                  <a:pt x="263" y="51"/>
                  <a:pt x="263" y="51"/>
                  <a:pt x="263" y="51"/>
                </a:cubicBezTo>
                <a:close/>
                <a:moveTo>
                  <a:pt x="263" y="54"/>
                </a:moveTo>
                <a:cubicBezTo>
                  <a:pt x="263" y="54"/>
                  <a:pt x="263" y="53"/>
                  <a:pt x="263" y="53"/>
                </a:cubicBezTo>
                <a:cubicBezTo>
                  <a:pt x="263" y="53"/>
                  <a:pt x="263" y="53"/>
                  <a:pt x="263" y="54"/>
                </a:cubicBezTo>
                <a:close/>
                <a:moveTo>
                  <a:pt x="262" y="53"/>
                </a:moveTo>
                <a:cubicBezTo>
                  <a:pt x="263" y="53"/>
                  <a:pt x="263" y="53"/>
                  <a:pt x="263" y="53"/>
                </a:cubicBezTo>
                <a:cubicBezTo>
                  <a:pt x="263" y="53"/>
                  <a:pt x="262" y="53"/>
                  <a:pt x="262" y="53"/>
                </a:cubicBezTo>
                <a:close/>
                <a:moveTo>
                  <a:pt x="262" y="53"/>
                </a:moveTo>
                <a:cubicBezTo>
                  <a:pt x="262" y="52"/>
                  <a:pt x="262" y="53"/>
                  <a:pt x="262" y="53"/>
                </a:cubicBezTo>
                <a:cubicBezTo>
                  <a:pt x="262" y="53"/>
                  <a:pt x="262" y="52"/>
                  <a:pt x="262" y="52"/>
                </a:cubicBezTo>
                <a:cubicBezTo>
                  <a:pt x="262" y="53"/>
                  <a:pt x="262" y="53"/>
                  <a:pt x="262" y="53"/>
                </a:cubicBezTo>
                <a:close/>
                <a:moveTo>
                  <a:pt x="262" y="56"/>
                </a:moveTo>
                <a:cubicBezTo>
                  <a:pt x="263" y="56"/>
                  <a:pt x="262" y="56"/>
                  <a:pt x="262" y="56"/>
                </a:cubicBezTo>
                <a:close/>
                <a:moveTo>
                  <a:pt x="261" y="58"/>
                </a:moveTo>
                <a:cubicBezTo>
                  <a:pt x="262" y="58"/>
                  <a:pt x="262" y="58"/>
                  <a:pt x="262" y="58"/>
                </a:cubicBezTo>
                <a:cubicBezTo>
                  <a:pt x="262" y="58"/>
                  <a:pt x="261" y="58"/>
                  <a:pt x="261" y="58"/>
                </a:cubicBezTo>
                <a:close/>
                <a:moveTo>
                  <a:pt x="262" y="58"/>
                </a:moveTo>
                <a:cubicBezTo>
                  <a:pt x="262" y="58"/>
                  <a:pt x="262" y="58"/>
                  <a:pt x="262" y="58"/>
                </a:cubicBezTo>
                <a:cubicBezTo>
                  <a:pt x="262" y="59"/>
                  <a:pt x="262" y="59"/>
                  <a:pt x="262" y="58"/>
                </a:cubicBezTo>
                <a:close/>
                <a:moveTo>
                  <a:pt x="262" y="61"/>
                </a:moveTo>
                <a:cubicBezTo>
                  <a:pt x="262" y="61"/>
                  <a:pt x="262" y="61"/>
                  <a:pt x="262" y="61"/>
                </a:cubicBezTo>
                <a:cubicBezTo>
                  <a:pt x="262" y="61"/>
                  <a:pt x="262" y="61"/>
                  <a:pt x="262" y="61"/>
                </a:cubicBezTo>
                <a:close/>
                <a:moveTo>
                  <a:pt x="261" y="61"/>
                </a:moveTo>
                <a:cubicBezTo>
                  <a:pt x="260" y="61"/>
                  <a:pt x="260" y="61"/>
                  <a:pt x="261" y="61"/>
                </a:cubicBezTo>
                <a:close/>
                <a:moveTo>
                  <a:pt x="339" y="54"/>
                </a:moveTo>
                <a:cubicBezTo>
                  <a:pt x="334" y="54"/>
                  <a:pt x="330" y="54"/>
                  <a:pt x="326" y="54"/>
                </a:cubicBezTo>
                <a:cubicBezTo>
                  <a:pt x="329" y="54"/>
                  <a:pt x="333" y="54"/>
                  <a:pt x="336" y="54"/>
                </a:cubicBezTo>
                <a:cubicBezTo>
                  <a:pt x="336" y="54"/>
                  <a:pt x="338" y="54"/>
                  <a:pt x="339" y="54"/>
                </a:cubicBezTo>
                <a:close/>
                <a:moveTo>
                  <a:pt x="263" y="56"/>
                </a:moveTo>
                <a:cubicBezTo>
                  <a:pt x="264" y="56"/>
                  <a:pt x="264" y="56"/>
                  <a:pt x="264" y="56"/>
                </a:cubicBezTo>
                <a:cubicBezTo>
                  <a:pt x="264" y="56"/>
                  <a:pt x="264" y="56"/>
                  <a:pt x="264" y="56"/>
                </a:cubicBezTo>
                <a:cubicBezTo>
                  <a:pt x="264" y="56"/>
                  <a:pt x="265" y="56"/>
                  <a:pt x="265" y="56"/>
                </a:cubicBezTo>
                <a:cubicBezTo>
                  <a:pt x="265" y="56"/>
                  <a:pt x="265" y="56"/>
                  <a:pt x="265" y="56"/>
                </a:cubicBezTo>
                <a:cubicBezTo>
                  <a:pt x="265" y="56"/>
                  <a:pt x="265" y="56"/>
                  <a:pt x="265" y="56"/>
                </a:cubicBezTo>
                <a:cubicBezTo>
                  <a:pt x="265" y="56"/>
                  <a:pt x="265" y="56"/>
                  <a:pt x="265" y="56"/>
                </a:cubicBezTo>
                <a:cubicBezTo>
                  <a:pt x="265" y="56"/>
                  <a:pt x="265" y="56"/>
                  <a:pt x="265" y="55"/>
                </a:cubicBezTo>
                <a:cubicBezTo>
                  <a:pt x="265" y="56"/>
                  <a:pt x="264" y="56"/>
                  <a:pt x="263" y="56"/>
                </a:cubicBezTo>
                <a:close/>
                <a:moveTo>
                  <a:pt x="264" y="52"/>
                </a:moveTo>
                <a:cubicBezTo>
                  <a:pt x="264" y="52"/>
                  <a:pt x="264" y="52"/>
                  <a:pt x="264" y="52"/>
                </a:cubicBezTo>
                <a:cubicBezTo>
                  <a:pt x="264" y="52"/>
                  <a:pt x="263" y="52"/>
                  <a:pt x="263" y="52"/>
                </a:cubicBezTo>
                <a:cubicBezTo>
                  <a:pt x="263" y="52"/>
                  <a:pt x="264" y="52"/>
                  <a:pt x="264" y="52"/>
                </a:cubicBezTo>
                <a:close/>
                <a:moveTo>
                  <a:pt x="261" y="53"/>
                </a:moveTo>
                <a:cubicBezTo>
                  <a:pt x="261" y="52"/>
                  <a:pt x="261" y="52"/>
                  <a:pt x="260" y="52"/>
                </a:cubicBezTo>
                <a:cubicBezTo>
                  <a:pt x="260" y="53"/>
                  <a:pt x="259" y="53"/>
                  <a:pt x="259" y="53"/>
                </a:cubicBezTo>
                <a:cubicBezTo>
                  <a:pt x="259" y="53"/>
                  <a:pt x="260" y="53"/>
                  <a:pt x="260" y="53"/>
                </a:cubicBezTo>
                <a:cubicBezTo>
                  <a:pt x="260" y="53"/>
                  <a:pt x="260" y="53"/>
                  <a:pt x="260" y="53"/>
                </a:cubicBezTo>
                <a:cubicBezTo>
                  <a:pt x="261" y="53"/>
                  <a:pt x="261" y="53"/>
                  <a:pt x="262" y="52"/>
                </a:cubicBezTo>
                <a:cubicBezTo>
                  <a:pt x="262" y="52"/>
                  <a:pt x="262" y="52"/>
                  <a:pt x="262" y="52"/>
                </a:cubicBezTo>
                <a:cubicBezTo>
                  <a:pt x="262" y="52"/>
                  <a:pt x="263" y="52"/>
                  <a:pt x="263" y="52"/>
                </a:cubicBezTo>
                <a:cubicBezTo>
                  <a:pt x="262" y="52"/>
                  <a:pt x="262" y="52"/>
                  <a:pt x="261" y="53"/>
                </a:cubicBezTo>
                <a:close/>
                <a:moveTo>
                  <a:pt x="262" y="59"/>
                </a:moveTo>
                <a:cubicBezTo>
                  <a:pt x="262" y="59"/>
                  <a:pt x="262" y="59"/>
                  <a:pt x="262" y="59"/>
                </a:cubicBezTo>
                <a:cubicBezTo>
                  <a:pt x="262" y="59"/>
                  <a:pt x="262" y="59"/>
                  <a:pt x="262" y="59"/>
                </a:cubicBezTo>
                <a:close/>
                <a:moveTo>
                  <a:pt x="500" y="148"/>
                </a:moveTo>
                <a:cubicBezTo>
                  <a:pt x="498" y="158"/>
                  <a:pt x="496" y="166"/>
                  <a:pt x="494" y="169"/>
                </a:cubicBezTo>
                <a:cubicBezTo>
                  <a:pt x="493" y="172"/>
                  <a:pt x="495" y="168"/>
                  <a:pt x="494" y="170"/>
                </a:cubicBezTo>
                <a:cubicBezTo>
                  <a:pt x="493" y="174"/>
                  <a:pt x="490" y="181"/>
                  <a:pt x="488" y="184"/>
                </a:cubicBezTo>
                <a:cubicBezTo>
                  <a:pt x="486" y="189"/>
                  <a:pt x="483" y="194"/>
                  <a:pt x="480" y="199"/>
                </a:cubicBezTo>
                <a:cubicBezTo>
                  <a:pt x="478" y="202"/>
                  <a:pt x="477" y="204"/>
                  <a:pt x="475" y="206"/>
                </a:cubicBezTo>
                <a:cubicBezTo>
                  <a:pt x="470" y="212"/>
                  <a:pt x="470" y="212"/>
                  <a:pt x="470" y="212"/>
                </a:cubicBezTo>
                <a:cubicBezTo>
                  <a:pt x="469" y="214"/>
                  <a:pt x="466" y="216"/>
                  <a:pt x="465" y="217"/>
                </a:cubicBezTo>
                <a:cubicBezTo>
                  <a:pt x="462" y="221"/>
                  <a:pt x="456" y="228"/>
                  <a:pt x="452" y="232"/>
                </a:cubicBezTo>
                <a:cubicBezTo>
                  <a:pt x="438" y="245"/>
                  <a:pt x="422" y="256"/>
                  <a:pt x="405" y="264"/>
                </a:cubicBezTo>
                <a:cubicBezTo>
                  <a:pt x="387" y="272"/>
                  <a:pt x="369" y="278"/>
                  <a:pt x="351" y="284"/>
                </a:cubicBezTo>
                <a:cubicBezTo>
                  <a:pt x="314" y="295"/>
                  <a:pt x="277" y="301"/>
                  <a:pt x="239" y="304"/>
                </a:cubicBezTo>
                <a:cubicBezTo>
                  <a:pt x="221" y="305"/>
                  <a:pt x="200" y="305"/>
                  <a:pt x="183" y="305"/>
                </a:cubicBezTo>
                <a:cubicBezTo>
                  <a:pt x="177" y="304"/>
                  <a:pt x="172" y="304"/>
                  <a:pt x="167" y="304"/>
                </a:cubicBezTo>
                <a:cubicBezTo>
                  <a:pt x="155" y="303"/>
                  <a:pt x="142" y="302"/>
                  <a:pt x="129" y="301"/>
                </a:cubicBezTo>
                <a:cubicBezTo>
                  <a:pt x="116" y="299"/>
                  <a:pt x="103" y="298"/>
                  <a:pt x="93" y="296"/>
                </a:cubicBezTo>
                <a:cubicBezTo>
                  <a:pt x="77" y="292"/>
                  <a:pt x="61" y="288"/>
                  <a:pt x="45" y="280"/>
                </a:cubicBezTo>
                <a:cubicBezTo>
                  <a:pt x="38" y="277"/>
                  <a:pt x="32" y="273"/>
                  <a:pt x="27" y="269"/>
                </a:cubicBezTo>
                <a:cubicBezTo>
                  <a:pt x="24" y="268"/>
                  <a:pt x="22" y="266"/>
                  <a:pt x="20" y="264"/>
                </a:cubicBezTo>
                <a:cubicBezTo>
                  <a:pt x="11" y="256"/>
                  <a:pt x="4" y="244"/>
                  <a:pt x="2" y="232"/>
                </a:cubicBezTo>
                <a:cubicBezTo>
                  <a:pt x="1" y="225"/>
                  <a:pt x="0" y="219"/>
                  <a:pt x="0" y="213"/>
                </a:cubicBezTo>
                <a:cubicBezTo>
                  <a:pt x="0" y="203"/>
                  <a:pt x="2" y="191"/>
                  <a:pt x="6" y="180"/>
                </a:cubicBezTo>
                <a:cubicBezTo>
                  <a:pt x="10" y="169"/>
                  <a:pt x="16" y="158"/>
                  <a:pt x="22" y="148"/>
                </a:cubicBezTo>
                <a:cubicBezTo>
                  <a:pt x="25" y="143"/>
                  <a:pt x="29" y="139"/>
                  <a:pt x="32" y="134"/>
                </a:cubicBezTo>
                <a:cubicBezTo>
                  <a:pt x="34" y="132"/>
                  <a:pt x="36" y="130"/>
                  <a:pt x="38" y="127"/>
                </a:cubicBezTo>
                <a:cubicBezTo>
                  <a:pt x="44" y="119"/>
                  <a:pt x="54" y="109"/>
                  <a:pt x="61" y="102"/>
                </a:cubicBezTo>
                <a:cubicBezTo>
                  <a:pt x="65" y="98"/>
                  <a:pt x="69" y="95"/>
                  <a:pt x="74" y="91"/>
                </a:cubicBezTo>
                <a:cubicBezTo>
                  <a:pt x="83" y="83"/>
                  <a:pt x="92" y="76"/>
                  <a:pt x="100" y="70"/>
                </a:cubicBezTo>
                <a:cubicBezTo>
                  <a:pt x="111" y="62"/>
                  <a:pt x="128" y="52"/>
                  <a:pt x="143" y="45"/>
                </a:cubicBezTo>
                <a:cubicBezTo>
                  <a:pt x="144" y="44"/>
                  <a:pt x="144" y="44"/>
                  <a:pt x="144" y="44"/>
                </a:cubicBezTo>
                <a:cubicBezTo>
                  <a:pt x="155" y="39"/>
                  <a:pt x="166" y="33"/>
                  <a:pt x="177" y="29"/>
                </a:cubicBezTo>
                <a:cubicBezTo>
                  <a:pt x="179" y="29"/>
                  <a:pt x="179" y="29"/>
                  <a:pt x="180" y="28"/>
                </a:cubicBezTo>
                <a:cubicBezTo>
                  <a:pt x="194" y="23"/>
                  <a:pt x="194" y="23"/>
                  <a:pt x="194" y="23"/>
                </a:cubicBezTo>
                <a:cubicBezTo>
                  <a:pt x="215" y="16"/>
                  <a:pt x="231" y="12"/>
                  <a:pt x="249" y="9"/>
                </a:cubicBezTo>
                <a:cubicBezTo>
                  <a:pt x="259" y="6"/>
                  <a:pt x="271" y="5"/>
                  <a:pt x="281" y="3"/>
                </a:cubicBezTo>
                <a:cubicBezTo>
                  <a:pt x="284" y="3"/>
                  <a:pt x="287" y="2"/>
                  <a:pt x="290" y="2"/>
                </a:cubicBezTo>
                <a:cubicBezTo>
                  <a:pt x="293" y="2"/>
                  <a:pt x="295" y="2"/>
                  <a:pt x="297" y="1"/>
                </a:cubicBezTo>
                <a:cubicBezTo>
                  <a:pt x="304" y="1"/>
                  <a:pt x="304" y="1"/>
                  <a:pt x="304" y="1"/>
                </a:cubicBezTo>
                <a:cubicBezTo>
                  <a:pt x="307" y="1"/>
                  <a:pt x="311" y="0"/>
                  <a:pt x="314" y="0"/>
                </a:cubicBezTo>
                <a:cubicBezTo>
                  <a:pt x="318" y="0"/>
                  <a:pt x="321" y="0"/>
                  <a:pt x="324" y="0"/>
                </a:cubicBezTo>
                <a:cubicBezTo>
                  <a:pt x="327" y="0"/>
                  <a:pt x="331" y="0"/>
                  <a:pt x="334" y="0"/>
                </a:cubicBezTo>
                <a:cubicBezTo>
                  <a:pt x="343" y="0"/>
                  <a:pt x="351" y="0"/>
                  <a:pt x="361" y="1"/>
                </a:cubicBezTo>
                <a:cubicBezTo>
                  <a:pt x="368" y="2"/>
                  <a:pt x="376" y="2"/>
                  <a:pt x="384" y="4"/>
                </a:cubicBezTo>
                <a:cubicBezTo>
                  <a:pt x="389" y="4"/>
                  <a:pt x="394" y="5"/>
                  <a:pt x="398" y="6"/>
                </a:cubicBezTo>
                <a:cubicBezTo>
                  <a:pt x="400" y="7"/>
                  <a:pt x="403" y="8"/>
                  <a:pt x="405" y="8"/>
                </a:cubicBezTo>
                <a:cubicBezTo>
                  <a:pt x="408" y="9"/>
                  <a:pt x="410" y="10"/>
                  <a:pt x="413" y="11"/>
                </a:cubicBezTo>
                <a:cubicBezTo>
                  <a:pt x="415" y="11"/>
                  <a:pt x="415" y="11"/>
                  <a:pt x="415" y="11"/>
                </a:cubicBezTo>
                <a:cubicBezTo>
                  <a:pt x="415" y="11"/>
                  <a:pt x="415" y="11"/>
                  <a:pt x="415" y="11"/>
                </a:cubicBezTo>
                <a:cubicBezTo>
                  <a:pt x="415" y="11"/>
                  <a:pt x="415" y="11"/>
                  <a:pt x="415" y="11"/>
                </a:cubicBezTo>
                <a:cubicBezTo>
                  <a:pt x="416" y="11"/>
                  <a:pt x="416" y="11"/>
                  <a:pt x="416" y="12"/>
                </a:cubicBezTo>
                <a:cubicBezTo>
                  <a:pt x="417" y="12"/>
                  <a:pt x="419" y="13"/>
                  <a:pt x="420" y="12"/>
                </a:cubicBezTo>
                <a:cubicBezTo>
                  <a:pt x="420" y="12"/>
                  <a:pt x="420" y="12"/>
                  <a:pt x="420" y="12"/>
                </a:cubicBezTo>
                <a:cubicBezTo>
                  <a:pt x="421" y="12"/>
                  <a:pt x="421" y="12"/>
                  <a:pt x="421" y="12"/>
                </a:cubicBezTo>
                <a:cubicBezTo>
                  <a:pt x="421" y="13"/>
                  <a:pt x="422" y="13"/>
                  <a:pt x="423" y="13"/>
                </a:cubicBezTo>
                <a:cubicBezTo>
                  <a:pt x="423" y="13"/>
                  <a:pt x="423" y="13"/>
                  <a:pt x="423" y="13"/>
                </a:cubicBezTo>
                <a:cubicBezTo>
                  <a:pt x="424" y="13"/>
                  <a:pt x="424" y="14"/>
                  <a:pt x="424" y="14"/>
                </a:cubicBezTo>
                <a:cubicBezTo>
                  <a:pt x="425" y="14"/>
                  <a:pt x="425" y="14"/>
                  <a:pt x="425" y="14"/>
                </a:cubicBezTo>
                <a:cubicBezTo>
                  <a:pt x="426" y="14"/>
                  <a:pt x="426" y="14"/>
                  <a:pt x="426" y="15"/>
                </a:cubicBezTo>
                <a:cubicBezTo>
                  <a:pt x="426" y="15"/>
                  <a:pt x="426" y="15"/>
                  <a:pt x="426" y="15"/>
                </a:cubicBezTo>
                <a:cubicBezTo>
                  <a:pt x="426" y="15"/>
                  <a:pt x="427" y="16"/>
                  <a:pt x="428" y="16"/>
                </a:cubicBezTo>
                <a:cubicBezTo>
                  <a:pt x="428" y="17"/>
                  <a:pt x="429" y="17"/>
                  <a:pt x="429" y="17"/>
                </a:cubicBezTo>
                <a:cubicBezTo>
                  <a:pt x="430" y="17"/>
                  <a:pt x="430" y="19"/>
                  <a:pt x="431" y="19"/>
                </a:cubicBezTo>
                <a:cubicBezTo>
                  <a:pt x="430" y="20"/>
                  <a:pt x="431" y="20"/>
                  <a:pt x="431" y="20"/>
                </a:cubicBezTo>
                <a:cubicBezTo>
                  <a:pt x="431" y="20"/>
                  <a:pt x="431" y="21"/>
                  <a:pt x="431" y="21"/>
                </a:cubicBezTo>
                <a:cubicBezTo>
                  <a:pt x="431" y="21"/>
                  <a:pt x="431" y="22"/>
                  <a:pt x="431" y="22"/>
                </a:cubicBezTo>
                <a:cubicBezTo>
                  <a:pt x="431" y="22"/>
                  <a:pt x="431" y="23"/>
                  <a:pt x="431" y="23"/>
                </a:cubicBezTo>
                <a:cubicBezTo>
                  <a:pt x="431" y="23"/>
                  <a:pt x="432" y="24"/>
                  <a:pt x="432" y="24"/>
                </a:cubicBezTo>
                <a:cubicBezTo>
                  <a:pt x="432" y="25"/>
                  <a:pt x="431" y="25"/>
                  <a:pt x="431" y="26"/>
                </a:cubicBezTo>
                <a:cubicBezTo>
                  <a:pt x="431" y="27"/>
                  <a:pt x="430" y="28"/>
                  <a:pt x="430" y="29"/>
                </a:cubicBezTo>
                <a:cubicBezTo>
                  <a:pt x="430" y="29"/>
                  <a:pt x="430" y="29"/>
                  <a:pt x="430" y="29"/>
                </a:cubicBezTo>
                <a:cubicBezTo>
                  <a:pt x="429" y="29"/>
                  <a:pt x="429" y="30"/>
                  <a:pt x="428" y="30"/>
                </a:cubicBezTo>
                <a:cubicBezTo>
                  <a:pt x="428" y="30"/>
                  <a:pt x="428" y="30"/>
                  <a:pt x="428" y="31"/>
                </a:cubicBezTo>
                <a:cubicBezTo>
                  <a:pt x="427" y="31"/>
                  <a:pt x="427" y="31"/>
                  <a:pt x="427" y="31"/>
                </a:cubicBezTo>
                <a:cubicBezTo>
                  <a:pt x="426" y="31"/>
                  <a:pt x="424" y="32"/>
                  <a:pt x="423" y="32"/>
                </a:cubicBezTo>
                <a:cubicBezTo>
                  <a:pt x="423" y="32"/>
                  <a:pt x="423" y="32"/>
                  <a:pt x="423" y="32"/>
                </a:cubicBezTo>
                <a:cubicBezTo>
                  <a:pt x="422" y="32"/>
                  <a:pt x="422" y="32"/>
                  <a:pt x="421" y="32"/>
                </a:cubicBezTo>
                <a:cubicBezTo>
                  <a:pt x="421" y="33"/>
                  <a:pt x="420" y="32"/>
                  <a:pt x="420" y="32"/>
                </a:cubicBezTo>
                <a:cubicBezTo>
                  <a:pt x="420" y="32"/>
                  <a:pt x="419" y="32"/>
                  <a:pt x="419" y="32"/>
                </a:cubicBezTo>
                <a:cubicBezTo>
                  <a:pt x="419" y="32"/>
                  <a:pt x="418" y="32"/>
                  <a:pt x="418" y="32"/>
                </a:cubicBezTo>
                <a:cubicBezTo>
                  <a:pt x="417" y="32"/>
                  <a:pt x="417" y="31"/>
                  <a:pt x="416" y="31"/>
                </a:cubicBezTo>
                <a:cubicBezTo>
                  <a:pt x="416" y="31"/>
                  <a:pt x="416" y="31"/>
                  <a:pt x="416" y="31"/>
                </a:cubicBezTo>
                <a:cubicBezTo>
                  <a:pt x="415" y="31"/>
                  <a:pt x="415" y="30"/>
                  <a:pt x="415" y="30"/>
                </a:cubicBezTo>
                <a:cubicBezTo>
                  <a:pt x="415" y="30"/>
                  <a:pt x="415" y="30"/>
                  <a:pt x="414" y="30"/>
                </a:cubicBezTo>
                <a:cubicBezTo>
                  <a:pt x="414" y="29"/>
                  <a:pt x="415" y="29"/>
                  <a:pt x="414" y="29"/>
                </a:cubicBezTo>
                <a:cubicBezTo>
                  <a:pt x="414" y="28"/>
                  <a:pt x="413" y="30"/>
                  <a:pt x="413" y="29"/>
                </a:cubicBezTo>
                <a:cubicBezTo>
                  <a:pt x="413" y="28"/>
                  <a:pt x="412" y="28"/>
                  <a:pt x="411" y="27"/>
                </a:cubicBezTo>
                <a:cubicBezTo>
                  <a:pt x="410" y="27"/>
                  <a:pt x="410" y="27"/>
                  <a:pt x="410" y="27"/>
                </a:cubicBezTo>
                <a:cubicBezTo>
                  <a:pt x="410" y="27"/>
                  <a:pt x="410" y="27"/>
                  <a:pt x="410" y="27"/>
                </a:cubicBezTo>
                <a:cubicBezTo>
                  <a:pt x="410" y="27"/>
                  <a:pt x="410" y="27"/>
                  <a:pt x="410" y="27"/>
                </a:cubicBezTo>
                <a:cubicBezTo>
                  <a:pt x="408" y="26"/>
                  <a:pt x="408" y="26"/>
                  <a:pt x="408" y="26"/>
                </a:cubicBezTo>
                <a:cubicBezTo>
                  <a:pt x="407" y="26"/>
                  <a:pt x="407" y="26"/>
                  <a:pt x="407" y="26"/>
                </a:cubicBezTo>
                <a:cubicBezTo>
                  <a:pt x="399" y="23"/>
                  <a:pt x="390" y="21"/>
                  <a:pt x="383" y="20"/>
                </a:cubicBezTo>
                <a:cubicBezTo>
                  <a:pt x="376" y="19"/>
                  <a:pt x="370" y="18"/>
                  <a:pt x="363" y="17"/>
                </a:cubicBezTo>
                <a:cubicBezTo>
                  <a:pt x="342" y="15"/>
                  <a:pt x="321" y="16"/>
                  <a:pt x="300" y="17"/>
                </a:cubicBezTo>
                <a:cubicBezTo>
                  <a:pt x="288" y="18"/>
                  <a:pt x="273" y="20"/>
                  <a:pt x="262" y="22"/>
                </a:cubicBezTo>
                <a:cubicBezTo>
                  <a:pt x="249" y="24"/>
                  <a:pt x="236" y="27"/>
                  <a:pt x="224" y="30"/>
                </a:cubicBezTo>
                <a:cubicBezTo>
                  <a:pt x="217" y="32"/>
                  <a:pt x="210" y="34"/>
                  <a:pt x="203" y="36"/>
                </a:cubicBezTo>
                <a:cubicBezTo>
                  <a:pt x="196" y="38"/>
                  <a:pt x="196" y="38"/>
                  <a:pt x="196" y="38"/>
                </a:cubicBezTo>
                <a:cubicBezTo>
                  <a:pt x="190" y="41"/>
                  <a:pt x="183" y="43"/>
                  <a:pt x="176" y="46"/>
                </a:cubicBezTo>
                <a:cubicBezTo>
                  <a:pt x="170" y="49"/>
                  <a:pt x="164" y="51"/>
                  <a:pt x="157" y="54"/>
                </a:cubicBezTo>
                <a:cubicBezTo>
                  <a:pt x="148" y="58"/>
                  <a:pt x="138" y="64"/>
                  <a:pt x="127" y="70"/>
                </a:cubicBezTo>
                <a:cubicBezTo>
                  <a:pt x="117" y="77"/>
                  <a:pt x="106" y="84"/>
                  <a:pt x="96" y="92"/>
                </a:cubicBezTo>
                <a:cubicBezTo>
                  <a:pt x="93" y="94"/>
                  <a:pt x="93" y="94"/>
                  <a:pt x="93" y="94"/>
                </a:cubicBezTo>
                <a:cubicBezTo>
                  <a:pt x="80" y="104"/>
                  <a:pt x="69" y="115"/>
                  <a:pt x="59" y="125"/>
                </a:cubicBezTo>
                <a:cubicBezTo>
                  <a:pt x="47" y="138"/>
                  <a:pt x="34" y="155"/>
                  <a:pt x="26" y="171"/>
                </a:cubicBezTo>
                <a:cubicBezTo>
                  <a:pt x="19" y="186"/>
                  <a:pt x="14" y="201"/>
                  <a:pt x="14" y="217"/>
                </a:cubicBezTo>
                <a:cubicBezTo>
                  <a:pt x="15" y="222"/>
                  <a:pt x="15" y="229"/>
                  <a:pt x="17" y="234"/>
                </a:cubicBezTo>
                <a:cubicBezTo>
                  <a:pt x="19" y="239"/>
                  <a:pt x="22" y="244"/>
                  <a:pt x="26" y="249"/>
                </a:cubicBezTo>
                <a:cubicBezTo>
                  <a:pt x="28" y="252"/>
                  <a:pt x="31" y="255"/>
                  <a:pt x="35" y="258"/>
                </a:cubicBezTo>
                <a:cubicBezTo>
                  <a:pt x="40" y="261"/>
                  <a:pt x="45" y="264"/>
                  <a:pt x="51" y="267"/>
                </a:cubicBezTo>
                <a:cubicBezTo>
                  <a:pt x="61" y="272"/>
                  <a:pt x="72" y="276"/>
                  <a:pt x="84" y="279"/>
                </a:cubicBezTo>
                <a:cubicBezTo>
                  <a:pt x="95" y="282"/>
                  <a:pt x="106" y="284"/>
                  <a:pt x="117" y="285"/>
                </a:cubicBezTo>
                <a:cubicBezTo>
                  <a:pt x="121" y="286"/>
                  <a:pt x="125" y="286"/>
                  <a:pt x="129" y="287"/>
                </a:cubicBezTo>
                <a:cubicBezTo>
                  <a:pt x="131" y="287"/>
                  <a:pt x="134" y="287"/>
                  <a:pt x="137" y="287"/>
                </a:cubicBezTo>
                <a:cubicBezTo>
                  <a:pt x="150" y="289"/>
                  <a:pt x="168" y="290"/>
                  <a:pt x="184" y="291"/>
                </a:cubicBezTo>
                <a:cubicBezTo>
                  <a:pt x="206" y="291"/>
                  <a:pt x="227" y="291"/>
                  <a:pt x="251" y="289"/>
                </a:cubicBezTo>
                <a:cubicBezTo>
                  <a:pt x="268" y="287"/>
                  <a:pt x="287" y="285"/>
                  <a:pt x="306" y="281"/>
                </a:cubicBezTo>
                <a:cubicBezTo>
                  <a:pt x="331" y="276"/>
                  <a:pt x="357" y="268"/>
                  <a:pt x="381" y="259"/>
                </a:cubicBezTo>
                <a:cubicBezTo>
                  <a:pt x="395" y="254"/>
                  <a:pt x="407" y="248"/>
                  <a:pt x="419" y="241"/>
                </a:cubicBezTo>
                <a:cubicBezTo>
                  <a:pt x="430" y="233"/>
                  <a:pt x="440" y="224"/>
                  <a:pt x="449" y="215"/>
                </a:cubicBezTo>
                <a:cubicBezTo>
                  <a:pt x="450" y="214"/>
                  <a:pt x="451" y="213"/>
                  <a:pt x="453" y="211"/>
                </a:cubicBezTo>
                <a:cubicBezTo>
                  <a:pt x="455" y="209"/>
                  <a:pt x="454" y="210"/>
                  <a:pt x="456" y="207"/>
                </a:cubicBezTo>
                <a:cubicBezTo>
                  <a:pt x="458" y="205"/>
                  <a:pt x="457" y="207"/>
                  <a:pt x="458" y="205"/>
                </a:cubicBezTo>
                <a:cubicBezTo>
                  <a:pt x="464" y="198"/>
                  <a:pt x="464" y="198"/>
                  <a:pt x="464" y="198"/>
                </a:cubicBezTo>
                <a:cubicBezTo>
                  <a:pt x="465" y="197"/>
                  <a:pt x="466" y="196"/>
                  <a:pt x="467" y="195"/>
                </a:cubicBezTo>
                <a:cubicBezTo>
                  <a:pt x="467" y="194"/>
                  <a:pt x="468" y="193"/>
                  <a:pt x="469" y="192"/>
                </a:cubicBezTo>
                <a:cubicBezTo>
                  <a:pt x="472" y="187"/>
                  <a:pt x="475" y="182"/>
                  <a:pt x="477" y="177"/>
                </a:cubicBezTo>
                <a:cubicBezTo>
                  <a:pt x="482" y="167"/>
                  <a:pt x="486" y="156"/>
                  <a:pt x="487" y="146"/>
                </a:cubicBezTo>
                <a:cubicBezTo>
                  <a:pt x="487" y="143"/>
                  <a:pt x="487" y="146"/>
                  <a:pt x="488" y="144"/>
                </a:cubicBezTo>
                <a:cubicBezTo>
                  <a:pt x="488" y="142"/>
                  <a:pt x="488" y="141"/>
                  <a:pt x="487" y="139"/>
                </a:cubicBezTo>
                <a:cubicBezTo>
                  <a:pt x="487" y="137"/>
                  <a:pt x="487" y="136"/>
                  <a:pt x="487" y="134"/>
                </a:cubicBezTo>
                <a:cubicBezTo>
                  <a:pt x="487" y="130"/>
                  <a:pt x="486" y="126"/>
                  <a:pt x="485" y="123"/>
                </a:cubicBezTo>
                <a:cubicBezTo>
                  <a:pt x="483" y="115"/>
                  <a:pt x="480" y="108"/>
                  <a:pt x="475" y="103"/>
                </a:cubicBezTo>
                <a:cubicBezTo>
                  <a:pt x="472" y="98"/>
                  <a:pt x="467" y="94"/>
                  <a:pt x="462" y="91"/>
                </a:cubicBezTo>
                <a:cubicBezTo>
                  <a:pt x="460" y="90"/>
                  <a:pt x="461" y="90"/>
                  <a:pt x="460" y="90"/>
                </a:cubicBezTo>
                <a:cubicBezTo>
                  <a:pt x="458" y="89"/>
                  <a:pt x="459" y="89"/>
                  <a:pt x="458" y="88"/>
                </a:cubicBezTo>
                <a:cubicBezTo>
                  <a:pt x="456" y="87"/>
                  <a:pt x="456" y="87"/>
                  <a:pt x="456" y="87"/>
                </a:cubicBezTo>
                <a:cubicBezTo>
                  <a:pt x="453" y="86"/>
                  <a:pt x="453" y="86"/>
                  <a:pt x="453" y="86"/>
                </a:cubicBezTo>
                <a:cubicBezTo>
                  <a:pt x="439" y="78"/>
                  <a:pt x="424" y="72"/>
                  <a:pt x="409" y="67"/>
                </a:cubicBezTo>
                <a:cubicBezTo>
                  <a:pt x="406" y="66"/>
                  <a:pt x="406" y="66"/>
                  <a:pt x="402" y="64"/>
                </a:cubicBezTo>
                <a:cubicBezTo>
                  <a:pt x="398" y="63"/>
                  <a:pt x="399" y="63"/>
                  <a:pt x="396" y="63"/>
                </a:cubicBezTo>
                <a:cubicBezTo>
                  <a:pt x="395" y="63"/>
                  <a:pt x="392" y="61"/>
                  <a:pt x="391" y="61"/>
                </a:cubicBezTo>
                <a:cubicBezTo>
                  <a:pt x="390" y="61"/>
                  <a:pt x="391" y="61"/>
                  <a:pt x="391" y="61"/>
                </a:cubicBezTo>
                <a:cubicBezTo>
                  <a:pt x="388" y="60"/>
                  <a:pt x="378" y="58"/>
                  <a:pt x="373" y="57"/>
                </a:cubicBezTo>
                <a:cubicBezTo>
                  <a:pt x="366" y="56"/>
                  <a:pt x="358" y="54"/>
                  <a:pt x="350" y="53"/>
                </a:cubicBezTo>
                <a:cubicBezTo>
                  <a:pt x="358" y="54"/>
                  <a:pt x="365" y="55"/>
                  <a:pt x="367" y="55"/>
                </a:cubicBezTo>
                <a:cubicBezTo>
                  <a:pt x="359" y="53"/>
                  <a:pt x="344" y="52"/>
                  <a:pt x="336" y="51"/>
                </a:cubicBezTo>
                <a:cubicBezTo>
                  <a:pt x="318" y="50"/>
                  <a:pt x="294" y="52"/>
                  <a:pt x="273" y="56"/>
                </a:cubicBezTo>
                <a:cubicBezTo>
                  <a:pt x="272" y="56"/>
                  <a:pt x="271" y="56"/>
                  <a:pt x="271" y="56"/>
                </a:cubicBezTo>
                <a:cubicBezTo>
                  <a:pt x="265" y="57"/>
                  <a:pt x="265" y="57"/>
                  <a:pt x="265" y="57"/>
                </a:cubicBezTo>
                <a:cubicBezTo>
                  <a:pt x="264" y="58"/>
                  <a:pt x="264" y="58"/>
                  <a:pt x="264" y="58"/>
                </a:cubicBezTo>
                <a:cubicBezTo>
                  <a:pt x="264" y="58"/>
                  <a:pt x="263" y="58"/>
                  <a:pt x="262" y="58"/>
                </a:cubicBezTo>
                <a:cubicBezTo>
                  <a:pt x="264" y="58"/>
                  <a:pt x="264" y="58"/>
                  <a:pt x="264" y="58"/>
                </a:cubicBezTo>
                <a:cubicBezTo>
                  <a:pt x="265" y="57"/>
                  <a:pt x="265" y="57"/>
                  <a:pt x="265" y="57"/>
                </a:cubicBezTo>
                <a:cubicBezTo>
                  <a:pt x="266" y="57"/>
                  <a:pt x="266" y="57"/>
                  <a:pt x="266" y="57"/>
                </a:cubicBezTo>
                <a:cubicBezTo>
                  <a:pt x="266" y="57"/>
                  <a:pt x="266" y="57"/>
                  <a:pt x="266" y="57"/>
                </a:cubicBezTo>
                <a:cubicBezTo>
                  <a:pt x="267" y="57"/>
                  <a:pt x="267" y="57"/>
                  <a:pt x="267" y="57"/>
                </a:cubicBezTo>
                <a:cubicBezTo>
                  <a:pt x="288" y="53"/>
                  <a:pt x="309" y="50"/>
                  <a:pt x="330" y="51"/>
                </a:cubicBezTo>
                <a:cubicBezTo>
                  <a:pt x="335" y="51"/>
                  <a:pt x="343" y="51"/>
                  <a:pt x="352" y="52"/>
                </a:cubicBezTo>
                <a:cubicBezTo>
                  <a:pt x="362" y="53"/>
                  <a:pt x="371" y="55"/>
                  <a:pt x="378" y="57"/>
                </a:cubicBezTo>
                <a:cubicBezTo>
                  <a:pt x="387" y="58"/>
                  <a:pt x="391" y="59"/>
                  <a:pt x="387" y="58"/>
                </a:cubicBezTo>
                <a:cubicBezTo>
                  <a:pt x="376" y="55"/>
                  <a:pt x="367" y="53"/>
                  <a:pt x="356" y="52"/>
                </a:cubicBezTo>
                <a:cubicBezTo>
                  <a:pt x="354" y="51"/>
                  <a:pt x="352" y="51"/>
                  <a:pt x="355" y="51"/>
                </a:cubicBezTo>
                <a:cubicBezTo>
                  <a:pt x="377" y="53"/>
                  <a:pt x="401" y="60"/>
                  <a:pt x="418" y="66"/>
                </a:cubicBezTo>
                <a:cubicBezTo>
                  <a:pt x="428" y="70"/>
                  <a:pt x="428" y="70"/>
                  <a:pt x="428" y="70"/>
                </a:cubicBezTo>
                <a:cubicBezTo>
                  <a:pt x="430" y="70"/>
                  <a:pt x="431" y="71"/>
                  <a:pt x="432" y="71"/>
                </a:cubicBezTo>
                <a:cubicBezTo>
                  <a:pt x="432" y="71"/>
                  <a:pt x="430" y="70"/>
                  <a:pt x="430" y="70"/>
                </a:cubicBezTo>
                <a:cubicBezTo>
                  <a:pt x="411" y="62"/>
                  <a:pt x="395" y="56"/>
                  <a:pt x="374" y="52"/>
                </a:cubicBezTo>
                <a:cubicBezTo>
                  <a:pt x="371" y="51"/>
                  <a:pt x="368" y="51"/>
                  <a:pt x="365" y="50"/>
                </a:cubicBezTo>
                <a:cubicBezTo>
                  <a:pt x="358" y="49"/>
                  <a:pt x="347" y="48"/>
                  <a:pt x="338" y="47"/>
                </a:cubicBezTo>
                <a:cubicBezTo>
                  <a:pt x="336" y="47"/>
                  <a:pt x="337" y="47"/>
                  <a:pt x="336" y="47"/>
                </a:cubicBezTo>
                <a:cubicBezTo>
                  <a:pt x="315" y="46"/>
                  <a:pt x="296" y="48"/>
                  <a:pt x="277" y="51"/>
                </a:cubicBezTo>
                <a:cubicBezTo>
                  <a:pt x="293" y="48"/>
                  <a:pt x="310" y="47"/>
                  <a:pt x="325" y="47"/>
                </a:cubicBezTo>
                <a:cubicBezTo>
                  <a:pt x="327" y="47"/>
                  <a:pt x="328" y="46"/>
                  <a:pt x="330" y="46"/>
                </a:cubicBezTo>
                <a:cubicBezTo>
                  <a:pt x="343" y="47"/>
                  <a:pt x="363" y="49"/>
                  <a:pt x="379" y="52"/>
                </a:cubicBezTo>
                <a:cubicBezTo>
                  <a:pt x="381" y="52"/>
                  <a:pt x="382" y="52"/>
                  <a:pt x="375" y="51"/>
                </a:cubicBezTo>
                <a:cubicBezTo>
                  <a:pt x="377" y="51"/>
                  <a:pt x="378" y="51"/>
                  <a:pt x="381" y="52"/>
                </a:cubicBezTo>
                <a:cubicBezTo>
                  <a:pt x="381" y="52"/>
                  <a:pt x="380" y="52"/>
                  <a:pt x="379" y="52"/>
                </a:cubicBezTo>
                <a:cubicBezTo>
                  <a:pt x="388" y="53"/>
                  <a:pt x="389" y="54"/>
                  <a:pt x="398" y="56"/>
                </a:cubicBezTo>
                <a:cubicBezTo>
                  <a:pt x="399" y="56"/>
                  <a:pt x="400" y="56"/>
                  <a:pt x="399" y="56"/>
                </a:cubicBezTo>
                <a:cubicBezTo>
                  <a:pt x="392" y="54"/>
                  <a:pt x="385" y="52"/>
                  <a:pt x="379" y="51"/>
                </a:cubicBezTo>
                <a:cubicBezTo>
                  <a:pt x="375" y="50"/>
                  <a:pt x="372" y="50"/>
                  <a:pt x="369" y="49"/>
                </a:cubicBezTo>
                <a:cubicBezTo>
                  <a:pt x="367" y="49"/>
                  <a:pt x="367" y="49"/>
                  <a:pt x="365" y="48"/>
                </a:cubicBezTo>
                <a:cubicBezTo>
                  <a:pt x="363" y="48"/>
                  <a:pt x="360" y="48"/>
                  <a:pt x="358" y="48"/>
                </a:cubicBezTo>
                <a:cubicBezTo>
                  <a:pt x="353" y="47"/>
                  <a:pt x="353" y="47"/>
                  <a:pt x="353" y="47"/>
                </a:cubicBezTo>
                <a:cubicBezTo>
                  <a:pt x="345" y="46"/>
                  <a:pt x="336" y="46"/>
                  <a:pt x="327" y="45"/>
                </a:cubicBezTo>
                <a:cubicBezTo>
                  <a:pt x="321" y="45"/>
                  <a:pt x="314" y="45"/>
                  <a:pt x="307" y="46"/>
                </a:cubicBezTo>
                <a:cubicBezTo>
                  <a:pt x="310" y="45"/>
                  <a:pt x="315" y="45"/>
                  <a:pt x="320" y="45"/>
                </a:cubicBezTo>
                <a:cubicBezTo>
                  <a:pt x="337" y="45"/>
                  <a:pt x="357" y="46"/>
                  <a:pt x="371" y="49"/>
                </a:cubicBezTo>
                <a:cubicBezTo>
                  <a:pt x="372" y="49"/>
                  <a:pt x="369" y="48"/>
                  <a:pt x="368" y="48"/>
                </a:cubicBezTo>
                <a:cubicBezTo>
                  <a:pt x="363" y="47"/>
                  <a:pt x="360" y="47"/>
                  <a:pt x="356" y="46"/>
                </a:cubicBezTo>
                <a:cubicBezTo>
                  <a:pt x="354" y="46"/>
                  <a:pt x="357" y="46"/>
                  <a:pt x="355" y="46"/>
                </a:cubicBezTo>
                <a:cubicBezTo>
                  <a:pt x="345" y="45"/>
                  <a:pt x="335" y="45"/>
                  <a:pt x="323" y="45"/>
                </a:cubicBezTo>
                <a:cubicBezTo>
                  <a:pt x="322" y="44"/>
                  <a:pt x="319" y="44"/>
                  <a:pt x="321" y="44"/>
                </a:cubicBezTo>
                <a:cubicBezTo>
                  <a:pt x="319" y="44"/>
                  <a:pt x="319" y="44"/>
                  <a:pt x="317" y="44"/>
                </a:cubicBezTo>
                <a:cubicBezTo>
                  <a:pt x="314" y="44"/>
                  <a:pt x="318" y="44"/>
                  <a:pt x="317" y="44"/>
                </a:cubicBezTo>
                <a:cubicBezTo>
                  <a:pt x="314" y="44"/>
                  <a:pt x="310" y="45"/>
                  <a:pt x="308" y="45"/>
                </a:cubicBezTo>
                <a:cubicBezTo>
                  <a:pt x="294" y="46"/>
                  <a:pt x="282" y="47"/>
                  <a:pt x="266" y="50"/>
                </a:cubicBezTo>
                <a:cubicBezTo>
                  <a:pt x="276" y="48"/>
                  <a:pt x="290" y="46"/>
                  <a:pt x="305" y="45"/>
                </a:cubicBezTo>
                <a:cubicBezTo>
                  <a:pt x="308" y="44"/>
                  <a:pt x="304" y="45"/>
                  <a:pt x="307" y="44"/>
                </a:cubicBezTo>
                <a:cubicBezTo>
                  <a:pt x="311" y="44"/>
                  <a:pt x="314" y="44"/>
                  <a:pt x="318" y="44"/>
                </a:cubicBezTo>
                <a:cubicBezTo>
                  <a:pt x="328" y="44"/>
                  <a:pt x="328" y="44"/>
                  <a:pt x="328" y="44"/>
                </a:cubicBezTo>
                <a:cubicBezTo>
                  <a:pt x="333" y="44"/>
                  <a:pt x="338" y="44"/>
                  <a:pt x="343" y="44"/>
                </a:cubicBezTo>
                <a:cubicBezTo>
                  <a:pt x="348" y="45"/>
                  <a:pt x="351" y="45"/>
                  <a:pt x="356" y="45"/>
                </a:cubicBezTo>
                <a:cubicBezTo>
                  <a:pt x="358" y="46"/>
                  <a:pt x="358" y="45"/>
                  <a:pt x="361" y="46"/>
                </a:cubicBezTo>
                <a:cubicBezTo>
                  <a:pt x="362" y="46"/>
                  <a:pt x="357" y="45"/>
                  <a:pt x="360" y="45"/>
                </a:cubicBezTo>
                <a:cubicBezTo>
                  <a:pt x="363" y="46"/>
                  <a:pt x="360" y="45"/>
                  <a:pt x="362" y="46"/>
                </a:cubicBezTo>
                <a:cubicBezTo>
                  <a:pt x="365" y="46"/>
                  <a:pt x="366" y="46"/>
                  <a:pt x="368" y="46"/>
                </a:cubicBezTo>
                <a:cubicBezTo>
                  <a:pt x="375" y="48"/>
                  <a:pt x="382" y="49"/>
                  <a:pt x="389" y="51"/>
                </a:cubicBezTo>
                <a:cubicBezTo>
                  <a:pt x="391" y="51"/>
                  <a:pt x="386" y="50"/>
                  <a:pt x="388" y="50"/>
                </a:cubicBezTo>
                <a:cubicBezTo>
                  <a:pt x="391" y="51"/>
                  <a:pt x="401" y="54"/>
                  <a:pt x="403" y="54"/>
                </a:cubicBezTo>
                <a:cubicBezTo>
                  <a:pt x="411" y="57"/>
                  <a:pt x="415" y="58"/>
                  <a:pt x="424" y="61"/>
                </a:cubicBezTo>
                <a:cubicBezTo>
                  <a:pt x="427" y="63"/>
                  <a:pt x="424" y="61"/>
                  <a:pt x="426" y="62"/>
                </a:cubicBezTo>
                <a:cubicBezTo>
                  <a:pt x="431" y="64"/>
                  <a:pt x="434" y="65"/>
                  <a:pt x="440" y="68"/>
                </a:cubicBezTo>
                <a:cubicBezTo>
                  <a:pt x="444" y="69"/>
                  <a:pt x="450" y="72"/>
                  <a:pt x="455" y="75"/>
                </a:cubicBezTo>
                <a:cubicBezTo>
                  <a:pt x="455" y="74"/>
                  <a:pt x="452" y="73"/>
                  <a:pt x="449" y="71"/>
                </a:cubicBezTo>
                <a:cubicBezTo>
                  <a:pt x="451" y="72"/>
                  <a:pt x="456" y="75"/>
                  <a:pt x="458" y="76"/>
                </a:cubicBezTo>
                <a:cubicBezTo>
                  <a:pt x="466" y="80"/>
                  <a:pt x="473" y="84"/>
                  <a:pt x="480" y="91"/>
                </a:cubicBezTo>
                <a:cubicBezTo>
                  <a:pt x="486" y="97"/>
                  <a:pt x="492" y="105"/>
                  <a:pt x="495" y="116"/>
                </a:cubicBezTo>
                <a:cubicBezTo>
                  <a:pt x="496" y="119"/>
                  <a:pt x="497" y="120"/>
                  <a:pt x="498" y="123"/>
                </a:cubicBezTo>
                <a:cubicBezTo>
                  <a:pt x="498" y="124"/>
                  <a:pt x="498" y="124"/>
                  <a:pt x="498" y="123"/>
                </a:cubicBezTo>
                <a:cubicBezTo>
                  <a:pt x="498" y="126"/>
                  <a:pt x="499" y="130"/>
                  <a:pt x="499" y="134"/>
                </a:cubicBezTo>
                <a:cubicBezTo>
                  <a:pt x="500" y="136"/>
                  <a:pt x="500" y="139"/>
                  <a:pt x="500" y="141"/>
                </a:cubicBezTo>
                <a:cubicBezTo>
                  <a:pt x="500" y="143"/>
                  <a:pt x="500" y="146"/>
                  <a:pt x="500" y="148"/>
                </a:cubicBezTo>
                <a:close/>
                <a:moveTo>
                  <a:pt x="385" y="50"/>
                </a:moveTo>
                <a:cubicBezTo>
                  <a:pt x="380" y="49"/>
                  <a:pt x="378" y="49"/>
                  <a:pt x="371" y="47"/>
                </a:cubicBezTo>
                <a:cubicBezTo>
                  <a:pt x="369" y="47"/>
                  <a:pt x="367" y="47"/>
                  <a:pt x="364" y="46"/>
                </a:cubicBezTo>
                <a:cubicBezTo>
                  <a:pt x="363" y="47"/>
                  <a:pt x="354" y="45"/>
                  <a:pt x="354" y="46"/>
                </a:cubicBezTo>
                <a:cubicBezTo>
                  <a:pt x="359" y="46"/>
                  <a:pt x="362" y="47"/>
                  <a:pt x="365" y="47"/>
                </a:cubicBezTo>
                <a:cubicBezTo>
                  <a:pt x="367" y="47"/>
                  <a:pt x="364" y="47"/>
                  <a:pt x="366" y="47"/>
                </a:cubicBezTo>
                <a:cubicBezTo>
                  <a:pt x="370" y="48"/>
                  <a:pt x="380" y="49"/>
                  <a:pt x="386" y="51"/>
                </a:cubicBezTo>
                <a:cubicBezTo>
                  <a:pt x="386" y="51"/>
                  <a:pt x="384" y="50"/>
                  <a:pt x="385" y="50"/>
                </a:cubicBezTo>
                <a:close/>
                <a:moveTo>
                  <a:pt x="387" y="51"/>
                </a:moveTo>
                <a:cubicBezTo>
                  <a:pt x="387" y="51"/>
                  <a:pt x="388" y="51"/>
                  <a:pt x="388" y="51"/>
                </a:cubicBezTo>
                <a:cubicBezTo>
                  <a:pt x="392" y="52"/>
                  <a:pt x="389" y="51"/>
                  <a:pt x="387" y="51"/>
                </a:cubicBezTo>
                <a:close/>
                <a:moveTo>
                  <a:pt x="391" y="61"/>
                </a:moveTo>
                <a:cubicBezTo>
                  <a:pt x="391" y="61"/>
                  <a:pt x="391" y="61"/>
                  <a:pt x="391" y="61"/>
                </a:cubicBezTo>
                <a:cubicBezTo>
                  <a:pt x="391" y="61"/>
                  <a:pt x="391" y="61"/>
                  <a:pt x="391" y="61"/>
                </a:cubicBezTo>
                <a:close/>
              </a:path>
            </a:pathLst>
          </a:custGeom>
          <a:solidFill>
            <a:srgbClr val="FE0F64"/>
          </a:solidFill>
          <a:ln w="3175">
            <a:solidFill>
              <a:srgbClr val="E71401"/>
            </a:solidFill>
          </a:ln>
          <a:effectLst>
            <a:outerShdw blurRad="508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25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0" name="TextBox 104">
            <a:extLst>
              <a:ext uri="{FF2B5EF4-FFF2-40B4-BE49-F238E27FC236}">
                <a16:creationId xmlns:a16="http://schemas.microsoft.com/office/drawing/2014/main" id="{73B2E823-20AF-4ED6-AF0F-A276B031253A}"/>
              </a:ext>
            </a:extLst>
          </p:cNvPr>
          <p:cNvSpPr txBox="1"/>
          <p:nvPr/>
        </p:nvSpPr>
        <p:spPr>
          <a:xfrm>
            <a:off x="5016355" y="1493037"/>
            <a:ext cx="2991822" cy="28321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400" b="1" i="1" u="sng" dirty="0">
                <a:solidFill>
                  <a:srgbClr val="028C59"/>
                </a:solidFill>
                <a:latin typeface="Arial"/>
              </a:rPr>
              <a:t>Target </a:t>
            </a:r>
            <a:r>
              <a:rPr kumimoji="0" lang="it-IT" sz="1400" b="1" i="1" u="sng" strike="noStrike" kern="1200" cap="none" spc="0" normalizeH="0" baseline="0" noProof="0" dirty="0">
                <a:ln>
                  <a:noFill/>
                </a:ln>
                <a:solidFill>
                  <a:srgbClr val="028C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U aggiornati </a:t>
            </a:r>
            <a:endParaRPr kumimoji="0" lang="it-IT" sz="1400" b="0" i="1" u="sng" strike="noStrike" kern="1200" cap="none" spc="0" normalizeH="0" baseline="30000" noProof="0" dirty="0">
              <a:ln>
                <a:noFill/>
              </a:ln>
              <a:solidFill>
                <a:srgbClr val="028C5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11" name="Connettore diritto 110">
            <a:extLst>
              <a:ext uri="{FF2B5EF4-FFF2-40B4-BE49-F238E27FC236}">
                <a16:creationId xmlns:a16="http://schemas.microsoft.com/office/drawing/2014/main" id="{D74236DA-A089-4EE7-94F6-9EE88B265814}"/>
              </a:ext>
            </a:extLst>
          </p:cNvPr>
          <p:cNvCxnSpPr>
            <a:cxnSpLocks/>
          </p:cNvCxnSpPr>
          <p:nvPr/>
        </p:nvCxnSpPr>
        <p:spPr>
          <a:xfrm>
            <a:off x="6662740" y="2150888"/>
            <a:ext cx="0" cy="326493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104">
            <a:extLst>
              <a:ext uri="{FF2B5EF4-FFF2-40B4-BE49-F238E27FC236}">
                <a16:creationId xmlns:a16="http://schemas.microsoft.com/office/drawing/2014/main" id="{35303BCE-459E-445D-BF51-6C068EB6277E}"/>
              </a:ext>
            </a:extLst>
          </p:cNvPr>
          <p:cNvSpPr txBox="1"/>
          <p:nvPr/>
        </p:nvSpPr>
        <p:spPr>
          <a:xfrm>
            <a:off x="1805057" y="1876029"/>
            <a:ext cx="1188000" cy="51982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40%  GHG</a:t>
            </a:r>
            <a:b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s 1990</a:t>
            </a:r>
            <a:endParaRPr kumimoji="0" lang="it-IT" sz="12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3" name="TextBox 104">
            <a:extLst>
              <a:ext uri="{FF2B5EF4-FFF2-40B4-BE49-F238E27FC236}">
                <a16:creationId xmlns:a16="http://schemas.microsoft.com/office/drawing/2014/main" id="{5593B2E1-F0D1-4735-A630-D82CCB86E828}"/>
              </a:ext>
            </a:extLst>
          </p:cNvPr>
          <p:cNvSpPr txBox="1"/>
          <p:nvPr/>
        </p:nvSpPr>
        <p:spPr>
          <a:xfrm>
            <a:off x="1602725" y="1493037"/>
            <a:ext cx="1819447" cy="28321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1" u="sng" strike="noStrike" kern="1200" cap="none" spc="0" normalizeH="0" baseline="0" noProof="0" dirty="0">
                <a:ln>
                  <a:noFill/>
                </a:ln>
                <a:solidFill>
                  <a:srgbClr val="028C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rget EU precedenti</a:t>
            </a:r>
            <a:endParaRPr kumimoji="0" lang="it-IT" sz="1400" b="0" i="1" u="sng" strike="noStrike" kern="1200" cap="none" spc="0" normalizeH="0" baseline="30000" noProof="0" dirty="0">
              <a:ln>
                <a:noFill/>
              </a:ln>
              <a:solidFill>
                <a:srgbClr val="028C5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14" name="Connettore diritto 113">
            <a:extLst>
              <a:ext uri="{FF2B5EF4-FFF2-40B4-BE49-F238E27FC236}">
                <a16:creationId xmlns:a16="http://schemas.microsoft.com/office/drawing/2014/main" id="{B4051F6A-64CB-4AA5-B616-E4F2C33AE6A2}"/>
              </a:ext>
            </a:extLst>
          </p:cNvPr>
          <p:cNvCxnSpPr>
            <a:cxnSpLocks/>
          </p:cNvCxnSpPr>
          <p:nvPr/>
        </p:nvCxnSpPr>
        <p:spPr>
          <a:xfrm>
            <a:off x="2040643" y="2205859"/>
            <a:ext cx="0" cy="326493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Segnaposto testo 6">
            <a:extLst>
              <a:ext uri="{FF2B5EF4-FFF2-40B4-BE49-F238E27FC236}">
                <a16:creationId xmlns:a16="http://schemas.microsoft.com/office/drawing/2014/main" id="{5D2CEB83-F5AE-4A34-99FB-FB23C95703D1}"/>
              </a:ext>
            </a:extLst>
          </p:cNvPr>
          <p:cNvSpPr txBox="1">
            <a:spLocks/>
          </p:cNvSpPr>
          <p:nvPr/>
        </p:nvSpPr>
        <p:spPr>
          <a:xfrm>
            <a:off x="4825816" y="5605909"/>
            <a:ext cx="4550520" cy="11617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1057275" algn="l"/>
              </a:tabLst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«</a:t>
            </a:r>
            <a:r>
              <a: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l target di crescita delle rinnovabili con obiettiv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1057275" algn="l"/>
              </a:tabLst>
              <a:defRPr/>
            </a:pPr>
            <a:r>
              <a: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reen Deal si traduce in obiettiv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1057275" algn="l"/>
              </a:tabLst>
              <a:defRPr/>
            </a:pPr>
            <a:r>
              <a: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fidanti in termini di potenza installata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»</a:t>
            </a:r>
          </a:p>
        </p:txBody>
      </p:sp>
      <p:pic>
        <p:nvPicPr>
          <p:cNvPr id="43" name="Immagine 42">
            <a:extLst>
              <a:ext uri="{FF2B5EF4-FFF2-40B4-BE49-F238E27FC236}">
                <a16:creationId xmlns:a16="http://schemas.microsoft.com/office/drawing/2014/main" id="{3C912CA1-FBEA-4E8F-A248-C31FA9AEC013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903" y="3932288"/>
            <a:ext cx="1518102" cy="1155091"/>
          </a:xfrm>
          <a:prstGeom prst="rect">
            <a:avLst/>
          </a:prstGeom>
        </p:spPr>
      </p:pic>
      <p:pic>
        <p:nvPicPr>
          <p:cNvPr id="120" name="Picture 12" descr="UE, Europea, Unione europea, Bandiera Libero Icona di Public Domain World  Flags">
            <a:extLst>
              <a:ext uri="{FF2B5EF4-FFF2-40B4-BE49-F238E27FC236}">
                <a16:creationId xmlns:a16="http://schemas.microsoft.com/office/drawing/2014/main" id="{915DE5A1-BCD4-4DB6-8FB4-1B1E2CD372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894" y="1857591"/>
            <a:ext cx="593549" cy="39498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21" name="Picture 14">
            <a:extLst>
              <a:ext uri="{FF2B5EF4-FFF2-40B4-BE49-F238E27FC236}">
                <a16:creationId xmlns:a16="http://schemas.microsoft.com/office/drawing/2014/main" id="{6063222D-0C48-46E7-BBD8-1509805A53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140" y="4039971"/>
            <a:ext cx="595082" cy="396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22" name="Pentagono 5">
            <a:extLst>
              <a:ext uri="{FF2B5EF4-FFF2-40B4-BE49-F238E27FC236}">
                <a16:creationId xmlns:a16="http://schemas.microsoft.com/office/drawing/2014/main" id="{AEF1EC5A-6FAD-4B39-B0F5-FC706827028E}"/>
              </a:ext>
            </a:extLst>
          </p:cNvPr>
          <p:cNvSpPr/>
          <p:nvPr/>
        </p:nvSpPr>
        <p:spPr>
          <a:xfrm>
            <a:off x="4508289" y="4529099"/>
            <a:ext cx="220506" cy="924751"/>
          </a:xfrm>
          <a:prstGeom prst="homePlate">
            <a:avLst>
              <a:gd name="adj" fmla="val 279354"/>
            </a:avLst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42000">
                <a:srgbClr val="9DB1CF"/>
              </a:gs>
              <a:gs pos="100000">
                <a:srgbClr val="4C6C9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5" name="Freeform 282">
            <a:extLst>
              <a:ext uri="{FF2B5EF4-FFF2-40B4-BE49-F238E27FC236}">
                <a16:creationId xmlns:a16="http://schemas.microsoft.com/office/drawing/2014/main" id="{171CF39A-83D5-4165-9C5F-12CFCDF0214A}"/>
              </a:ext>
            </a:extLst>
          </p:cNvPr>
          <p:cNvSpPr>
            <a:spLocks noEditPoints="1"/>
          </p:cNvSpPr>
          <p:nvPr/>
        </p:nvSpPr>
        <p:spPr bwMode="auto">
          <a:xfrm>
            <a:off x="7954460" y="4817988"/>
            <a:ext cx="698348" cy="470336"/>
          </a:xfrm>
          <a:custGeom>
            <a:avLst/>
            <a:gdLst>
              <a:gd name="T0" fmla="*/ 476 w 1432"/>
              <a:gd name="T1" fmla="*/ 762 h 910"/>
              <a:gd name="T2" fmla="*/ 492 w 1432"/>
              <a:gd name="T3" fmla="*/ 752 h 910"/>
              <a:gd name="T4" fmla="*/ 632 w 1432"/>
              <a:gd name="T5" fmla="*/ 748 h 910"/>
              <a:gd name="T6" fmla="*/ 636 w 1432"/>
              <a:gd name="T7" fmla="*/ 618 h 910"/>
              <a:gd name="T8" fmla="*/ 612 w 1432"/>
              <a:gd name="T9" fmla="*/ 594 h 910"/>
              <a:gd name="T10" fmla="*/ 6 w 1432"/>
              <a:gd name="T11" fmla="*/ 592 h 910"/>
              <a:gd name="T12" fmla="*/ 6 w 1432"/>
              <a:gd name="T13" fmla="*/ 564 h 910"/>
              <a:gd name="T14" fmla="*/ 162 w 1432"/>
              <a:gd name="T15" fmla="*/ 18 h 910"/>
              <a:gd name="T16" fmla="*/ 188 w 1432"/>
              <a:gd name="T17" fmla="*/ 0 h 910"/>
              <a:gd name="T18" fmla="*/ 1252 w 1432"/>
              <a:gd name="T19" fmla="*/ 0 h 910"/>
              <a:gd name="T20" fmla="*/ 1388 w 1432"/>
              <a:gd name="T21" fmla="*/ 432 h 910"/>
              <a:gd name="T22" fmla="*/ 1432 w 1432"/>
              <a:gd name="T23" fmla="*/ 584 h 910"/>
              <a:gd name="T24" fmla="*/ 1412 w 1432"/>
              <a:gd name="T25" fmla="*/ 594 h 910"/>
              <a:gd name="T26" fmla="*/ 806 w 1432"/>
              <a:gd name="T27" fmla="*/ 594 h 910"/>
              <a:gd name="T28" fmla="*/ 796 w 1432"/>
              <a:gd name="T29" fmla="*/ 674 h 910"/>
              <a:gd name="T30" fmla="*/ 806 w 1432"/>
              <a:gd name="T31" fmla="*/ 750 h 910"/>
              <a:gd name="T32" fmla="*/ 936 w 1432"/>
              <a:gd name="T33" fmla="*/ 750 h 910"/>
              <a:gd name="T34" fmla="*/ 956 w 1432"/>
              <a:gd name="T35" fmla="*/ 770 h 910"/>
              <a:gd name="T36" fmla="*/ 948 w 1432"/>
              <a:gd name="T37" fmla="*/ 910 h 910"/>
              <a:gd name="T38" fmla="*/ 476 w 1432"/>
              <a:gd name="T39" fmla="*/ 908 h 910"/>
              <a:gd name="T40" fmla="*/ 1140 w 1432"/>
              <a:gd name="T41" fmla="*/ 514 h 910"/>
              <a:gd name="T42" fmla="*/ 1318 w 1432"/>
              <a:gd name="T43" fmla="*/ 504 h 910"/>
              <a:gd name="T44" fmla="*/ 1262 w 1432"/>
              <a:gd name="T45" fmla="*/ 286 h 910"/>
              <a:gd name="T46" fmla="*/ 962 w 1432"/>
              <a:gd name="T47" fmla="*/ 280 h 910"/>
              <a:gd name="T48" fmla="*/ 942 w 1432"/>
              <a:gd name="T49" fmla="*/ 292 h 910"/>
              <a:gd name="T50" fmla="*/ 962 w 1432"/>
              <a:gd name="T51" fmla="*/ 494 h 910"/>
              <a:gd name="T52" fmla="*/ 986 w 1432"/>
              <a:gd name="T53" fmla="*/ 514 h 910"/>
              <a:gd name="T54" fmla="*/ 708 w 1432"/>
              <a:gd name="T55" fmla="*/ 514 h 910"/>
              <a:gd name="T56" fmla="*/ 872 w 1432"/>
              <a:gd name="T57" fmla="*/ 510 h 910"/>
              <a:gd name="T58" fmla="*/ 862 w 1432"/>
              <a:gd name="T59" fmla="*/ 298 h 910"/>
              <a:gd name="T60" fmla="*/ 842 w 1432"/>
              <a:gd name="T61" fmla="*/ 280 h 910"/>
              <a:gd name="T62" fmla="*/ 554 w 1432"/>
              <a:gd name="T63" fmla="*/ 290 h 910"/>
              <a:gd name="T64" fmla="*/ 540 w 1432"/>
              <a:gd name="T65" fmla="*/ 504 h 910"/>
              <a:gd name="T66" fmla="*/ 708 w 1432"/>
              <a:gd name="T67" fmla="*/ 514 h 910"/>
              <a:gd name="T68" fmla="*/ 278 w 1432"/>
              <a:gd name="T69" fmla="*/ 514 h 910"/>
              <a:gd name="T70" fmla="*/ 444 w 1432"/>
              <a:gd name="T71" fmla="*/ 508 h 910"/>
              <a:gd name="T72" fmla="*/ 470 w 1432"/>
              <a:gd name="T73" fmla="*/ 298 h 910"/>
              <a:gd name="T74" fmla="*/ 456 w 1432"/>
              <a:gd name="T75" fmla="*/ 280 h 910"/>
              <a:gd name="T76" fmla="*/ 170 w 1432"/>
              <a:gd name="T77" fmla="*/ 284 h 910"/>
              <a:gd name="T78" fmla="*/ 114 w 1432"/>
              <a:gd name="T79" fmla="*/ 494 h 910"/>
              <a:gd name="T80" fmla="*/ 128 w 1432"/>
              <a:gd name="T81" fmla="*/ 514 h 910"/>
              <a:gd name="T82" fmla="*/ 1092 w 1432"/>
              <a:gd name="T83" fmla="*/ 220 h 910"/>
              <a:gd name="T84" fmla="*/ 1246 w 1432"/>
              <a:gd name="T85" fmla="*/ 212 h 910"/>
              <a:gd name="T86" fmla="*/ 1206 w 1432"/>
              <a:gd name="T87" fmla="*/ 56 h 910"/>
              <a:gd name="T88" fmla="*/ 934 w 1432"/>
              <a:gd name="T89" fmla="*/ 48 h 910"/>
              <a:gd name="T90" fmla="*/ 920 w 1432"/>
              <a:gd name="T91" fmla="*/ 64 h 910"/>
              <a:gd name="T92" fmla="*/ 940 w 1432"/>
              <a:gd name="T93" fmla="*/ 216 h 910"/>
              <a:gd name="T94" fmla="*/ 1092 w 1432"/>
              <a:gd name="T95" fmla="*/ 220 h 910"/>
              <a:gd name="T96" fmla="*/ 236 w 1432"/>
              <a:gd name="T97" fmla="*/ 48 h 910"/>
              <a:gd name="T98" fmla="*/ 222 w 1432"/>
              <a:gd name="T99" fmla="*/ 62 h 910"/>
              <a:gd name="T100" fmla="*/ 188 w 1432"/>
              <a:gd name="T101" fmla="*/ 216 h 910"/>
              <a:gd name="T102" fmla="*/ 460 w 1432"/>
              <a:gd name="T103" fmla="*/ 220 h 910"/>
              <a:gd name="T104" fmla="*/ 482 w 1432"/>
              <a:gd name="T105" fmla="*/ 202 h 910"/>
              <a:gd name="T106" fmla="*/ 572 w 1432"/>
              <a:gd name="T107" fmla="*/ 48 h 910"/>
              <a:gd name="T108" fmla="*/ 566 w 1432"/>
              <a:gd name="T109" fmla="*/ 218 h 910"/>
              <a:gd name="T110" fmla="*/ 838 w 1432"/>
              <a:gd name="T111" fmla="*/ 220 h 910"/>
              <a:gd name="T112" fmla="*/ 856 w 1432"/>
              <a:gd name="T113" fmla="*/ 204 h 910"/>
              <a:gd name="T114" fmla="*/ 836 w 1432"/>
              <a:gd name="T115" fmla="*/ 48 h 910"/>
              <a:gd name="T116" fmla="*/ 572 w 1432"/>
              <a:gd name="T117" fmla="*/ 48 h 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432" h="910">
                <a:moveTo>
                  <a:pt x="476" y="908"/>
                </a:moveTo>
                <a:lnTo>
                  <a:pt x="476" y="908"/>
                </a:lnTo>
                <a:lnTo>
                  <a:pt x="476" y="834"/>
                </a:lnTo>
                <a:lnTo>
                  <a:pt x="476" y="762"/>
                </a:lnTo>
                <a:lnTo>
                  <a:pt x="476" y="762"/>
                </a:lnTo>
                <a:lnTo>
                  <a:pt x="478" y="758"/>
                </a:lnTo>
                <a:lnTo>
                  <a:pt x="482" y="756"/>
                </a:lnTo>
                <a:lnTo>
                  <a:pt x="488" y="752"/>
                </a:lnTo>
                <a:lnTo>
                  <a:pt x="492" y="752"/>
                </a:lnTo>
                <a:lnTo>
                  <a:pt x="492" y="752"/>
                </a:lnTo>
                <a:lnTo>
                  <a:pt x="554" y="750"/>
                </a:lnTo>
                <a:lnTo>
                  <a:pt x="616" y="752"/>
                </a:lnTo>
                <a:lnTo>
                  <a:pt x="616" y="752"/>
                </a:lnTo>
                <a:lnTo>
                  <a:pt x="626" y="750"/>
                </a:lnTo>
                <a:lnTo>
                  <a:pt x="632" y="748"/>
                </a:lnTo>
                <a:lnTo>
                  <a:pt x="636" y="740"/>
                </a:lnTo>
                <a:lnTo>
                  <a:pt x="636" y="730"/>
                </a:lnTo>
                <a:lnTo>
                  <a:pt x="636" y="730"/>
                </a:lnTo>
                <a:lnTo>
                  <a:pt x="636" y="674"/>
                </a:lnTo>
                <a:lnTo>
                  <a:pt x="636" y="618"/>
                </a:lnTo>
                <a:lnTo>
                  <a:pt x="636" y="618"/>
                </a:lnTo>
                <a:lnTo>
                  <a:pt x="636" y="606"/>
                </a:lnTo>
                <a:lnTo>
                  <a:pt x="632" y="598"/>
                </a:lnTo>
                <a:lnTo>
                  <a:pt x="624" y="594"/>
                </a:lnTo>
                <a:lnTo>
                  <a:pt x="612" y="594"/>
                </a:lnTo>
                <a:lnTo>
                  <a:pt x="612" y="594"/>
                </a:lnTo>
                <a:lnTo>
                  <a:pt x="30" y="594"/>
                </a:lnTo>
                <a:lnTo>
                  <a:pt x="30" y="594"/>
                </a:lnTo>
                <a:lnTo>
                  <a:pt x="10" y="594"/>
                </a:lnTo>
                <a:lnTo>
                  <a:pt x="6" y="592"/>
                </a:lnTo>
                <a:lnTo>
                  <a:pt x="2" y="590"/>
                </a:lnTo>
                <a:lnTo>
                  <a:pt x="0" y="586"/>
                </a:lnTo>
                <a:lnTo>
                  <a:pt x="0" y="580"/>
                </a:lnTo>
                <a:lnTo>
                  <a:pt x="6" y="564"/>
                </a:lnTo>
                <a:lnTo>
                  <a:pt x="6" y="564"/>
                </a:lnTo>
                <a:lnTo>
                  <a:pt x="114" y="188"/>
                </a:lnTo>
                <a:lnTo>
                  <a:pt x="114" y="188"/>
                </a:lnTo>
                <a:lnTo>
                  <a:pt x="138" y="104"/>
                </a:lnTo>
                <a:lnTo>
                  <a:pt x="162" y="18"/>
                </a:lnTo>
                <a:lnTo>
                  <a:pt x="162" y="18"/>
                </a:lnTo>
                <a:lnTo>
                  <a:pt x="166" y="8"/>
                </a:lnTo>
                <a:lnTo>
                  <a:pt x="172" y="2"/>
                </a:lnTo>
                <a:lnTo>
                  <a:pt x="178" y="0"/>
                </a:lnTo>
                <a:lnTo>
                  <a:pt x="188" y="0"/>
                </a:lnTo>
                <a:lnTo>
                  <a:pt x="188" y="0"/>
                </a:lnTo>
                <a:lnTo>
                  <a:pt x="722" y="0"/>
                </a:lnTo>
                <a:lnTo>
                  <a:pt x="722" y="0"/>
                </a:lnTo>
                <a:lnTo>
                  <a:pt x="1242" y="0"/>
                </a:lnTo>
                <a:lnTo>
                  <a:pt x="1242" y="0"/>
                </a:lnTo>
                <a:lnTo>
                  <a:pt x="1252" y="0"/>
                </a:lnTo>
                <a:lnTo>
                  <a:pt x="1260" y="4"/>
                </a:lnTo>
                <a:lnTo>
                  <a:pt x="1266" y="10"/>
                </a:lnTo>
                <a:lnTo>
                  <a:pt x="1270" y="20"/>
                </a:lnTo>
                <a:lnTo>
                  <a:pt x="1270" y="20"/>
                </a:lnTo>
                <a:lnTo>
                  <a:pt x="1388" y="432"/>
                </a:lnTo>
                <a:lnTo>
                  <a:pt x="1388" y="432"/>
                </a:lnTo>
                <a:lnTo>
                  <a:pt x="1408" y="504"/>
                </a:lnTo>
                <a:lnTo>
                  <a:pt x="1430" y="574"/>
                </a:lnTo>
                <a:lnTo>
                  <a:pt x="1430" y="574"/>
                </a:lnTo>
                <a:lnTo>
                  <a:pt x="1432" y="584"/>
                </a:lnTo>
                <a:lnTo>
                  <a:pt x="1430" y="588"/>
                </a:lnTo>
                <a:lnTo>
                  <a:pt x="1428" y="590"/>
                </a:lnTo>
                <a:lnTo>
                  <a:pt x="1422" y="594"/>
                </a:lnTo>
                <a:lnTo>
                  <a:pt x="1412" y="594"/>
                </a:lnTo>
                <a:lnTo>
                  <a:pt x="1412" y="594"/>
                </a:lnTo>
                <a:lnTo>
                  <a:pt x="1038" y="594"/>
                </a:lnTo>
                <a:lnTo>
                  <a:pt x="1038" y="594"/>
                </a:lnTo>
                <a:lnTo>
                  <a:pt x="816" y="594"/>
                </a:lnTo>
                <a:lnTo>
                  <a:pt x="816" y="594"/>
                </a:lnTo>
                <a:lnTo>
                  <a:pt x="806" y="594"/>
                </a:lnTo>
                <a:lnTo>
                  <a:pt x="800" y="598"/>
                </a:lnTo>
                <a:lnTo>
                  <a:pt x="796" y="604"/>
                </a:lnTo>
                <a:lnTo>
                  <a:pt x="796" y="614"/>
                </a:lnTo>
                <a:lnTo>
                  <a:pt x="796" y="614"/>
                </a:lnTo>
                <a:lnTo>
                  <a:pt x="796" y="674"/>
                </a:lnTo>
                <a:lnTo>
                  <a:pt x="796" y="732"/>
                </a:lnTo>
                <a:lnTo>
                  <a:pt x="796" y="732"/>
                </a:lnTo>
                <a:lnTo>
                  <a:pt x="796" y="742"/>
                </a:lnTo>
                <a:lnTo>
                  <a:pt x="800" y="748"/>
                </a:lnTo>
                <a:lnTo>
                  <a:pt x="806" y="750"/>
                </a:lnTo>
                <a:lnTo>
                  <a:pt x="814" y="752"/>
                </a:lnTo>
                <a:lnTo>
                  <a:pt x="814" y="752"/>
                </a:lnTo>
                <a:lnTo>
                  <a:pt x="876" y="752"/>
                </a:lnTo>
                <a:lnTo>
                  <a:pt x="936" y="750"/>
                </a:lnTo>
                <a:lnTo>
                  <a:pt x="936" y="750"/>
                </a:lnTo>
                <a:lnTo>
                  <a:pt x="946" y="752"/>
                </a:lnTo>
                <a:lnTo>
                  <a:pt x="952" y="754"/>
                </a:lnTo>
                <a:lnTo>
                  <a:pt x="956" y="760"/>
                </a:lnTo>
                <a:lnTo>
                  <a:pt x="956" y="770"/>
                </a:lnTo>
                <a:lnTo>
                  <a:pt x="956" y="770"/>
                </a:lnTo>
                <a:lnTo>
                  <a:pt x="956" y="894"/>
                </a:lnTo>
                <a:lnTo>
                  <a:pt x="956" y="894"/>
                </a:lnTo>
                <a:lnTo>
                  <a:pt x="956" y="902"/>
                </a:lnTo>
                <a:lnTo>
                  <a:pt x="954" y="906"/>
                </a:lnTo>
                <a:lnTo>
                  <a:pt x="948" y="910"/>
                </a:lnTo>
                <a:lnTo>
                  <a:pt x="940" y="910"/>
                </a:lnTo>
                <a:lnTo>
                  <a:pt x="940" y="910"/>
                </a:lnTo>
                <a:lnTo>
                  <a:pt x="486" y="910"/>
                </a:lnTo>
                <a:lnTo>
                  <a:pt x="486" y="910"/>
                </a:lnTo>
                <a:lnTo>
                  <a:pt x="476" y="908"/>
                </a:lnTo>
                <a:lnTo>
                  <a:pt x="476" y="908"/>
                </a:lnTo>
                <a:close/>
                <a:moveTo>
                  <a:pt x="1140" y="514"/>
                </a:moveTo>
                <a:lnTo>
                  <a:pt x="1140" y="514"/>
                </a:lnTo>
                <a:lnTo>
                  <a:pt x="1140" y="514"/>
                </a:lnTo>
                <a:lnTo>
                  <a:pt x="1140" y="514"/>
                </a:lnTo>
                <a:lnTo>
                  <a:pt x="1300" y="514"/>
                </a:lnTo>
                <a:lnTo>
                  <a:pt x="1300" y="514"/>
                </a:lnTo>
                <a:lnTo>
                  <a:pt x="1310" y="512"/>
                </a:lnTo>
                <a:lnTo>
                  <a:pt x="1316" y="510"/>
                </a:lnTo>
                <a:lnTo>
                  <a:pt x="1318" y="504"/>
                </a:lnTo>
                <a:lnTo>
                  <a:pt x="1316" y="494"/>
                </a:lnTo>
                <a:lnTo>
                  <a:pt x="1316" y="494"/>
                </a:lnTo>
                <a:lnTo>
                  <a:pt x="1266" y="294"/>
                </a:lnTo>
                <a:lnTo>
                  <a:pt x="1266" y="294"/>
                </a:lnTo>
                <a:lnTo>
                  <a:pt x="1262" y="286"/>
                </a:lnTo>
                <a:lnTo>
                  <a:pt x="1256" y="282"/>
                </a:lnTo>
                <a:lnTo>
                  <a:pt x="1250" y="280"/>
                </a:lnTo>
                <a:lnTo>
                  <a:pt x="1242" y="280"/>
                </a:lnTo>
                <a:lnTo>
                  <a:pt x="1242" y="280"/>
                </a:lnTo>
                <a:lnTo>
                  <a:pt x="962" y="280"/>
                </a:lnTo>
                <a:lnTo>
                  <a:pt x="962" y="280"/>
                </a:lnTo>
                <a:lnTo>
                  <a:pt x="950" y="282"/>
                </a:lnTo>
                <a:lnTo>
                  <a:pt x="948" y="282"/>
                </a:lnTo>
                <a:lnTo>
                  <a:pt x="944" y="286"/>
                </a:lnTo>
                <a:lnTo>
                  <a:pt x="942" y="292"/>
                </a:lnTo>
                <a:lnTo>
                  <a:pt x="942" y="302"/>
                </a:lnTo>
                <a:lnTo>
                  <a:pt x="942" y="302"/>
                </a:lnTo>
                <a:lnTo>
                  <a:pt x="954" y="398"/>
                </a:lnTo>
                <a:lnTo>
                  <a:pt x="962" y="494"/>
                </a:lnTo>
                <a:lnTo>
                  <a:pt x="962" y="494"/>
                </a:lnTo>
                <a:lnTo>
                  <a:pt x="964" y="504"/>
                </a:lnTo>
                <a:lnTo>
                  <a:pt x="968" y="510"/>
                </a:lnTo>
                <a:lnTo>
                  <a:pt x="976" y="512"/>
                </a:lnTo>
                <a:lnTo>
                  <a:pt x="986" y="514"/>
                </a:lnTo>
                <a:lnTo>
                  <a:pt x="986" y="514"/>
                </a:lnTo>
                <a:lnTo>
                  <a:pt x="1140" y="514"/>
                </a:lnTo>
                <a:lnTo>
                  <a:pt x="1140" y="514"/>
                </a:lnTo>
                <a:close/>
                <a:moveTo>
                  <a:pt x="708" y="514"/>
                </a:moveTo>
                <a:lnTo>
                  <a:pt x="708" y="514"/>
                </a:lnTo>
                <a:lnTo>
                  <a:pt x="708" y="514"/>
                </a:lnTo>
                <a:lnTo>
                  <a:pt x="708" y="514"/>
                </a:lnTo>
                <a:lnTo>
                  <a:pt x="858" y="514"/>
                </a:lnTo>
                <a:lnTo>
                  <a:pt x="858" y="514"/>
                </a:lnTo>
                <a:lnTo>
                  <a:pt x="866" y="512"/>
                </a:lnTo>
                <a:lnTo>
                  <a:pt x="872" y="510"/>
                </a:lnTo>
                <a:lnTo>
                  <a:pt x="874" y="506"/>
                </a:lnTo>
                <a:lnTo>
                  <a:pt x="874" y="496"/>
                </a:lnTo>
                <a:lnTo>
                  <a:pt x="874" y="496"/>
                </a:lnTo>
                <a:lnTo>
                  <a:pt x="862" y="298"/>
                </a:lnTo>
                <a:lnTo>
                  <a:pt x="862" y="298"/>
                </a:lnTo>
                <a:lnTo>
                  <a:pt x="860" y="290"/>
                </a:lnTo>
                <a:lnTo>
                  <a:pt x="858" y="284"/>
                </a:lnTo>
                <a:lnTo>
                  <a:pt x="852" y="282"/>
                </a:lnTo>
                <a:lnTo>
                  <a:pt x="842" y="280"/>
                </a:lnTo>
                <a:lnTo>
                  <a:pt x="842" y="280"/>
                </a:lnTo>
                <a:lnTo>
                  <a:pt x="574" y="280"/>
                </a:lnTo>
                <a:lnTo>
                  <a:pt x="574" y="280"/>
                </a:lnTo>
                <a:lnTo>
                  <a:pt x="566" y="282"/>
                </a:lnTo>
                <a:lnTo>
                  <a:pt x="558" y="284"/>
                </a:lnTo>
                <a:lnTo>
                  <a:pt x="554" y="290"/>
                </a:lnTo>
                <a:lnTo>
                  <a:pt x="554" y="300"/>
                </a:lnTo>
                <a:lnTo>
                  <a:pt x="554" y="300"/>
                </a:lnTo>
                <a:lnTo>
                  <a:pt x="538" y="494"/>
                </a:lnTo>
                <a:lnTo>
                  <a:pt x="538" y="494"/>
                </a:lnTo>
                <a:lnTo>
                  <a:pt x="540" y="504"/>
                </a:lnTo>
                <a:lnTo>
                  <a:pt x="542" y="510"/>
                </a:lnTo>
                <a:lnTo>
                  <a:pt x="548" y="512"/>
                </a:lnTo>
                <a:lnTo>
                  <a:pt x="558" y="514"/>
                </a:lnTo>
                <a:lnTo>
                  <a:pt x="558" y="514"/>
                </a:lnTo>
                <a:lnTo>
                  <a:pt x="708" y="514"/>
                </a:lnTo>
                <a:lnTo>
                  <a:pt x="708" y="514"/>
                </a:lnTo>
                <a:close/>
                <a:moveTo>
                  <a:pt x="278" y="514"/>
                </a:moveTo>
                <a:lnTo>
                  <a:pt x="278" y="514"/>
                </a:lnTo>
                <a:lnTo>
                  <a:pt x="278" y="514"/>
                </a:lnTo>
                <a:lnTo>
                  <a:pt x="278" y="514"/>
                </a:lnTo>
                <a:lnTo>
                  <a:pt x="352" y="514"/>
                </a:lnTo>
                <a:lnTo>
                  <a:pt x="424" y="514"/>
                </a:lnTo>
                <a:lnTo>
                  <a:pt x="424" y="514"/>
                </a:lnTo>
                <a:lnTo>
                  <a:pt x="436" y="512"/>
                </a:lnTo>
                <a:lnTo>
                  <a:pt x="444" y="508"/>
                </a:lnTo>
                <a:lnTo>
                  <a:pt x="448" y="502"/>
                </a:lnTo>
                <a:lnTo>
                  <a:pt x="450" y="490"/>
                </a:lnTo>
                <a:lnTo>
                  <a:pt x="450" y="490"/>
                </a:lnTo>
                <a:lnTo>
                  <a:pt x="460" y="394"/>
                </a:lnTo>
                <a:lnTo>
                  <a:pt x="470" y="298"/>
                </a:lnTo>
                <a:lnTo>
                  <a:pt x="470" y="298"/>
                </a:lnTo>
                <a:lnTo>
                  <a:pt x="470" y="290"/>
                </a:lnTo>
                <a:lnTo>
                  <a:pt x="468" y="284"/>
                </a:lnTo>
                <a:lnTo>
                  <a:pt x="464" y="282"/>
                </a:lnTo>
                <a:lnTo>
                  <a:pt x="456" y="280"/>
                </a:lnTo>
                <a:lnTo>
                  <a:pt x="456" y="280"/>
                </a:lnTo>
                <a:lnTo>
                  <a:pt x="184" y="280"/>
                </a:lnTo>
                <a:lnTo>
                  <a:pt x="184" y="280"/>
                </a:lnTo>
                <a:lnTo>
                  <a:pt x="176" y="282"/>
                </a:lnTo>
                <a:lnTo>
                  <a:pt x="170" y="284"/>
                </a:lnTo>
                <a:lnTo>
                  <a:pt x="166" y="290"/>
                </a:lnTo>
                <a:lnTo>
                  <a:pt x="164" y="296"/>
                </a:lnTo>
                <a:lnTo>
                  <a:pt x="164" y="296"/>
                </a:lnTo>
                <a:lnTo>
                  <a:pt x="140" y="396"/>
                </a:lnTo>
                <a:lnTo>
                  <a:pt x="114" y="494"/>
                </a:lnTo>
                <a:lnTo>
                  <a:pt x="114" y="494"/>
                </a:lnTo>
                <a:lnTo>
                  <a:pt x="112" y="504"/>
                </a:lnTo>
                <a:lnTo>
                  <a:pt x="114" y="510"/>
                </a:lnTo>
                <a:lnTo>
                  <a:pt x="118" y="512"/>
                </a:lnTo>
                <a:lnTo>
                  <a:pt x="128" y="514"/>
                </a:lnTo>
                <a:lnTo>
                  <a:pt x="128" y="514"/>
                </a:lnTo>
                <a:lnTo>
                  <a:pt x="278" y="514"/>
                </a:lnTo>
                <a:lnTo>
                  <a:pt x="278" y="514"/>
                </a:lnTo>
                <a:close/>
                <a:moveTo>
                  <a:pt x="1092" y="220"/>
                </a:moveTo>
                <a:lnTo>
                  <a:pt x="1092" y="220"/>
                </a:lnTo>
                <a:lnTo>
                  <a:pt x="1230" y="220"/>
                </a:lnTo>
                <a:lnTo>
                  <a:pt x="1230" y="220"/>
                </a:lnTo>
                <a:lnTo>
                  <a:pt x="1238" y="220"/>
                </a:lnTo>
                <a:lnTo>
                  <a:pt x="1244" y="216"/>
                </a:lnTo>
                <a:lnTo>
                  <a:pt x="1246" y="212"/>
                </a:lnTo>
                <a:lnTo>
                  <a:pt x="1244" y="202"/>
                </a:lnTo>
                <a:lnTo>
                  <a:pt x="1244" y="202"/>
                </a:lnTo>
                <a:lnTo>
                  <a:pt x="1210" y="62"/>
                </a:lnTo>
                <a:lnTo>
                  <a:pt x="1210" y="62"/>
                </a:lnTo>
                <a:lnTo>
                  <a:pt x="1206" y="56"/>
                </a:lnTo>
                <a:lnTo>
                  <a:pt x="1202" y="52"/>
                </a:lnTo>
                <a:lnTo>
                  <a:pt x="1198" y="50"/>
                </a:lnTo>
                <a:lnTo>
                  <a:pt x="1194" y="48"/>
                </a:lnTo>
                <a:lnTo>
                  <a:pt x="1194" y="48"/>
                </a:lnTo>
                <a:lnTo>
                  <a:pt x="934" y="48"/>
                </a:lnTo>
                <a:lnTo>
                  <a:pt x="934" y="48"/>
                </a:lnTo>
                <a:lnTo>
                  <a:pt x="926" y="48"/>
                </a:lnTo>
                <a:lnTo>
                  <a:pt x="922" y="52"/>
                </a:lnTo>
                <a:lnTo>
                  <a:pt x="920" y="56"/>
                </a:lnTo>
                <a:lnTo>
                  <a:pt x="920" y="64"/>
                </a:lnTo>
                <a:lnTo>
                  <a:pt x="920" y="64"/>
                </a:lnTo>
                <a:lnTo>
                  <a:pt x="934" y="200"/>
                </a:lnTo>
                <a:lnTo>
                  <a:pt x="934" y="200"/>
                </a:lnTo>
                <a:lnTo>
                  <a:pt x="936" y="210"/>
                </a:lnTo>
                <a:lnTo>
                  <a:pt x="940" y="216"/>
                </a:lnTo>
                <a:lnTo>
                  <a:pt x="946" y="220"/>
                </a:lnTo>
                <a:lnTo>
                  <a:pt x="956" y="220"/>
                </a:lnTo>
                <a:lnTo>
                  <a:pt x="956" y="220"/>
                </a:lnTo>
                <a:lnTo>
                  <a:pt x="1092" y="220"/>
                </a:lnTo>
                <a:lnTo>
                  <a:pt x="1092" y="220"/>
                </a:lnTo>
                <a:close/>
                <a:moveTo>
                  <a:pt x="500" y="52"/>
                </a:moveTo>
                <a:lnTo>
                  <a:pt x="500" y="52"/>
                </a:lnTo>
                <a:lnTo>
                  <a:pt x="496" y="48"/>
                </a:lnTo>
                <a:lnTo>
                  <a:pt x="496" y="48"/>
                </a:lnTo>
                <a:lnTo>
                  <a:pt x="236" y="48"/>
                </a:lnTo>
                <a:lnTo>
                  <a:pt x="236" y="48"/>
                </a:lnTo>
                <a:lnTo>
                  <a:pt x="232" y="50"/>
                </a:lnTo>
                <a:lnTo>
                  <a:pt x="228" y="54"/>
                </a:lnTo>
                <a:lnTo>
                  <a:pt x="224" y="58"/>
                </a:lnTo>
                <a:lnTo>
                  <a:pt x="222" y="62"/>
                </a:lnTo>
                <a:lnTo>
                  <a:pt x="222" y="62"/>
                </a:lnTo>
                <a:lnTo>
                  <a:pt x="188" y="200"/>
                </a:lnTo>
                <a:lnTo>
                  <a:pt x="188" y="200"/>
                </a:lnTo>
                <a:lnTo>
                  <a:pt x="186" y="210"/>
                </a:lnTo>
                <a:lnTo>
                  <a:pt x="188" y="216"/>
                </a:lnTo>
                <a:lnTo>
                  <a:pt x="194" y="220"/>
                </a:lnTo>
                <a:lnTo>
                  <a:pt x="204" y="220"/>
                </a:lnTo>
                <a:lnTo>
                  <a:pt x="204" y="220"/>
                </a:lnTo>
                <a:lnTo>
                  <a:pt x="460" y="220"/>
                </a:lnTo>
                <a:lnTo>
                  <a:pt x="460" y="220"/>
                </a:lnTo>
                <a:lnTo>
                  <a:pt x="470" y="220"/>
                </a:lnTo>
                <a:lnTo>
                  <a:pt x="476" y="216"/>
                </a:lnTo>
                <a:lnTo>
                  <a:pt x="480" y="210"/>
                </a:lnTo>
                <a:lnTo>
                  <a:pt x="482" y="202"/>
                </a:lnTo>
                <a:lnTo>
                  <a:pt x="482" y="202"/>
                </a:lnTo>
                <a:lnTo>
                  <a:pt x="492" y="118"/>
                </a:lnTo>
                <a:lnTo>
                  <a:pt x="492" y="118"/>
                </a:lnTo>
                <a:lnTo>
                  <a:pt x="500" y="52"/>
                </a:lnTo>
                <a:lnTo>
                  <a:pt x="500" y="52"/>
                </a:lnTo>
                <a:close/>
                <a:moveTo>
                  <a:pt x="572" y="48"/>
                </a:moveTo>
                <a:lnTo>
                  <a:pt x="572" y="48"/>
                </a:lnTo>
                <a:lnTo>
                  <a:pt x="560" y="208"/>
                </a:lnTo>
                <a:lnTo>
                  <a:pt x="560" y="208"/>
                </a:lnTo>
                <a:lnTo>
                  <a:pt x="562" y="214"/>
                </a:lnTo>
                <a:lnTo>
                  <a:pt x="566" y="218"/>
                </a:lnTo>
                <a:lnTo>
                  <a:pt x="570" y="220"/>
                </a:lnTo>
                <a:lnTo>
                  <a:pt x="578" y="220"/>
                </a:lnTo>
                <a:lnTo>
                  <a:pt x="578" y="220"/>
                </a:lnTo>
                <a:lnTo>
                  <a:pt x="838" y="220"/>
                </a:lnTo>
                <a:lnTo>
                  <a:pt x="838" y="220"/>
                </a:lnTo>
                <a:lnTo>
                  <a:pt x="846" y="220"/>
                </a:lnTo>
                <a:lnTo>
                  <a:pt x="852" y="216"/>
                </a:lnTo>
                <a:lnTo>
                  <a:pt x="854" y="212"/>
                </a:lnTo>
                <a:lnTo>
                  <a:pt x="856" y="204"/>
                </a:lnTo>
                <a:lnTo>
                  <a:pt x="856" y="204"/>
                </a:lnTo>
                <a:lnTo>
                  <a:pt x="846" y="64"/>
                </a:lnTo>
                <a:lnTo>
                  <a:pt x="846" y="64"/>
                </a:lnTo>
                <a:lnTo>
                  <a:pt x="844" y="56"/>
                </a:lnTo>
                <a:lnTo>
                  <a:pt x="842" y="50"/>
                </a:lnTo>
                <a:lnTo>
                  <a:pt x="836" y="48"/>
                </a:lnTo>
                <a:lnTo>
                  <a:pt x="828" y="48"/>
                </a:lnTo>
                <a:lnTo>
                  <a:pt x="828" y="48"/>
                </a:lnTo>
                <a:lnTo>
                  <a:pt x="714" y="48"/>
                </a:lnTo>
                <a:lnTo>
                  <a:pt x="714" y="48"/>
                </a:lnTo>
                <a:lnTo>
                  <a:pt x="572" y="48"/>
                </a:lnTo>
                <a:lnTo>
                  <a:pt x="572" y="48"/>
                </a:lnTo>
                <a:close/>
              </a:path>
            </a:pathLst>
          </a:custGeom>
          <a:solidFill>
            <a:srgbClr val="BBE5BD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sp>
        <p:nvSpPr>
          <p:cNvPr id="128" name="Rettangolo arrotondato 14">
            <a:extLst>
              <a:ext uri="{FF2B5EF4-FFF2-40B4-BE49-F238E27FC236}">
                <a16:creationId xmlns:a16="http://schemas.microsoft.com/office/drawing/2014/main" id="{8AC63775-425D-4BB3-A05C-8C634A8C4265}"/>
              </a:ext>
            </a:extLst>
          </p:cNvPr>
          <p:cNvSpPr/>
          <p:nvPr/>
        </p:nvSpPr>
        <p:spPr>
          <a:xfrm>
            <a:off x="5765058" y="3457182"/>
            <a:ext cx="2649496" cy="249708"/>
          </a:xfrm>
          <a:prstGeom prst="roundRect">
            <a:avLst/>
          </a:prstGeom>
          <a:solidFill>
            <a:srgbClr val="028C59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Scenario </a:t>
            </a:r>
            <a:r>
              <a:rPr kumimoji="0" lang="it-IT" sz="14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MiTE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«</a:t>
            </a:r>
            <a:r>
              <a:rPr kumimoji="0" lang="it-IT" sz="14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fit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for 55»</a:t>
            </a:r>
          </a:p>
        </p:txBody>
      </p:sp>
      <p:sp>
        <p:nvSpPr>
          <p:cNvPr id="129" name="Rettangolo arrotondato 14">
            <a:extLst>
              <a:ext uri="{FF2B5EF4-FFF2-40B4-BE49-F238E27FC236}">
                <a16:creationId xmlns:a16="http://schemas.microsoft.com/office/drawing/2014/main" id="{86F9F26F-7016-4BFC-AFBA-3ACDD3B79E84}"/>
              </a:ext>
            </a:extLst>
          </p:cNvPr>
          <p:cNvSpPr/>
          <p:nvPr/>
        </p:nvSpPr>
        <p:spPr>
          <a:xfrm>
            <a:off x="732531" y="3445248"/>
            <a:ext cx="2649496" cy="249708"/>
          </a:xfrm>
          <a:prstGeom prst="roundRect">
            <a:avLst/>
          </a:prstGeom>
          <a:solidFill>
            <a:srgbClr val="028C59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scenario PNIEC</a:t>
            </a:r>
          </a:p>
        </p:txBody>
      </p:sp>
      <p:grpSp>
        <p:nvGrpSpPr>
          <p:cNvPr id="131" name="Group 66">
            <a:extLst>
              <a:ext uri="{FF2B5EF4-FFF2-40B4-BE49-F238E27FC236}">
                <a16:creationId xmlns:a16="http://schemas.microsoft.com/office/drawing/2014/main" id="{1AA19E2B-8CB0-43F1-B161-F128586B5E01}"/>
              </a:ext>
            </a:extLst>
          </p:cNvPr>
          <p:cNvGrpSpPr/>
          <p:nvPr/>
        </p:nvGrpSpPr>
        <p:grpSpPr bwMode="gray">
          <a:xfrm>
            <a:off x="8280959" y="3884101"/>
            <a:ext cx="594998" cy="724615"/>
            <a:chOff x="11056636" y="1438275"/>
            <a:chExt cx="3488039" cy="4041774"/>
          </a:xfrm>
          <a:solidFill>
            <a:srgbClr val="00B853"/>
          </a:solidFill>
        </p:grpSpPr>
        <p:sp>
          <p:nvSpPr>
            <p:cNvPr id="132" name="Freeform 223">
              <a:extLst>
                <a:ext uri="{FF2B5EF4-FFF2-40B4-BE49-F238E27FC236}">
                  <a16:creationId xmlns:a16="http://schemas.microsoft.com/office/drawing/2014/main" id="{7C4E5224-0D7A-4251-9B9F-90BCBBCB19F4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06202" y="1438275"/>
              <a:ext cx="1009645" cy="1727194"/>
            </a:xfrm>
            <a:custGeom>
              <a:avLst/>
              <a:gdLst>
                <a:gd name="T0" fmla="*/ 636 w 636"/>
                <a:gd name="T1" fmla="*/ 948 h 1088"/>
                <a:gd name="T2" fmla="*/ 588 w 636"/>
                <a:gd name="T3" fmla="*/ 942 h 1088"/>
                <a:gd name="T4" fmla="*/ 542 w 636"/>
                <a:gd name="T5" fmla="*/ 942 h 1088"/>
                <a:gd name="T6" fmla="*/ 498 w 636"/>
                <a:gd name="T7" fmla="*/ 950 h 1088"/>
                <a:gd name="T8" fmla="*/ 454 w 636"/>
                <a:gd name="T9" fmla="*/ 966 h 1088"/>
                <a:gd name="T10" fmla="*/ 434 w 636"/>
                <a:gd name="T11" fmla="*/ 976 h 1088"/>
                <a:gd name="T12" fmla="*/ 396 w 636"/>
                <a:gd name="T13" fmla="*/ 1000 h 1088"/>
                <a:gd name="T14" fmla="*/ 362 w 636"/>
                <a:gd name="T15" fmla="*/ 1032 h 1088"/>
                <a:gd name="T16" fmla="*/ 332 w 636"/>
                <a:gd name="T17" fmla="*/ 1068 h 1088"/>
                <a:gd name="T18" fmla="*/ 318 w 636"/>
                <a:gd name="T19" fmla="*/ 1088 h 1088"/>
                <a:gd name="T20" fmla="*/ 302 w 636"/>
                <a:gd name="T21" fmla="*/ 1060 h 1088"/>
                <a:gd name="T22" fmla="*/ 248 w 636"/>
                <a:gd name="T23" fmla="*/ 952 h 1088"/>
                <a:gd name="T24" fmla="*/ 202 w 636"/>
                <a:gd name="T25" fmla="*/ 842 h 1088"/>
                <a:gd name="T26" fmla="*/ 158 w 636"/>
                <a:gd name="T27" fmla="*/ 728 h 1088"/>
                <a:gd name="T28" fmla="*/ 122 w 636"/>
                <a:gd name="T29" fmla="*/ 614 h 1088"/>
                <a:gd name="T30" fmla="*/ 68 w 636"/>
                <a:gd name="T31" fmla="*/ 432 h 1088"/>
                <a:gd name="T32" fmla="*/ 22 w 636"/>
                <a:gd name="T33" fmla="*/ 250 h 1088"/>
                <a:gd name="T34" fmla="*/ 14 w 636"/>
                <a:gd name="T35" fmla="*/ 206 h 1088"/>
                <a:gd name="T36" fmla="*/ 0 w 636"/>
                <a:gd name="T37" fmla="*/ 74 h 1088"/>
                <a:gd name="T38" fmla="*/ 0 w 636"/>
                <a:gd name="T39" fmla="*/ 62 h 1088"/>
                <a:gd name="T40" fmla="*/ 6 w 636"/>
                <a:gd name="T41" fmla="*/ 26 h 1088"/>
                <a:gd name="T42" fmla="*/ 10 w 636"/>
                <a:gd name="T43" fmla="*/ 18 h 1088"/>
                <a:gd name="T44" fmla="*/ 18 w 636"/>
                <a:gd name="T45" fmla="*/ 6 h 1088"/>
                <a:gd name="T46" fmla="*/ 30 w 636"/>
                <a:gd name="T47" fmla="*/ 0 h 1088"/>
                <a:gd name="T48" fmla="*/ 44 w 636"/>
                <a:gd name="T49" fmla="*/ 0 h 1088"/>
                <a:gd name="T50" fmla="*/ 52 w 636"/>
                <a:gd name="T51" fmla="*/ 4 h 1088"/>
                <a:gd name="T52" fmla="*/ 96 w 636"/>
                <a:gd name="T53" fmla="*/ 34 h 1088"/>
                <a:gd name="T54" fmla="*/ 134 w 636"/>
                <a:gd name="T55" fmla="*/ 70 h 1088"/>
                <a:gd name="T56" fmla="*/ 170 w 636"/>
                <a:gd name="T57" fmla="*/ 116 h 1088"/>
                <a:gd name="T58" fmla="*/ 244 w 636"/>
                <a:gd name="T59" fmla="*/ 210 h 1088"/>
                <a:gd name="T60" fmla="*/ 278 w 636"/>
                <a:gd name="T61" fmla="*/ 260 h 1088"/>
                <a:gd name="T62" fmla="*/ 366 w 636"/>
                <a:gd name="T63" fmla="*/ 400 h 1088"/>
                <a:gd name="T64" fmla="*/ 450 w 636"/>
                <a:gd name="T65" fmla="*/ 544 h 1088"/>
                <a:gd name="T66" fmla="*/ 526 w 636"/>
                <a:gd name="T67" fmla="*/ 690 h 1088"/>
                <a:gd name="T68" fmla="*/ 596 w 636"/>
                <a:gd name="T69" fmla="*/ 842 h 1088"/>
                <a:gd name="T70" fmla="*/ 616 w 636"/>
                <a:gd name="T71" fmla="*/ 892 h 1088"/>
                <a:gd name="T72" fmla="*/ 636 w 636"/>
                <a:gd name="T73" fmla="*/ 948 h 10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36" h="1088">
                  <a:moveTo>
                    <a:pt x="636" y="948"/>
                  </a:moveTo>
                  <a:lnTo>
                    <a:pt x="636" y="948"/>
                  </a:lnTo>
                  <a:lnTo>
                    <a:pt x="612" y="944"/>
                  </a:lnTo>
                  <a:lnTo>
                    <a:pt x="588" y="942"/>
                  </a:lnTo>
                  <a:lnTo>
                    <a:pt x="564" y="942"/>
                  </a:lnTo>
                  <a:lnTo>
                    <a:pt x="542" y="942"/>
                  </a:lnTo>
                  <a:lnTo>
                    <a:pt x="520" y="946"/>
                  </a:lnTo>
                  <a:lnTo>
                    <a:pt x="498" y="950"/>
                  </a:lnTo>
                  <a:lnTo>
                    <a:pt x="476" y="958"/>
                  </a:lnTo>
                  <a:lnTo>
                    <a:pt x="454" y="966"/>
                  </a:lnTo>
                  <a:lnTo>
                    <a:pt x="454" y="966"/>
                  </a:lnTo>
                  <a:lnTo>
                    <a:pt x="434" y="976"/>
                  </a:lnTo>
                  <a:lnTo>
                    <a:pt x="414" y="988"/>
                  </a:lnTo>
                  <a:lnTo>
                    <a:pt x="396" y="1000"/>
                  </a:lnTo>
                  <a:lnTo>
                    <a:pt x="378" y="1016"/>
                  </a:lnTo>
                  <a:lnTo>
                    <a:pt x="362" y="1032"/>
                  </a:lnTo>
                  <a:lnTo>
                    <a:pt x="346" y="1048"/>
                  </a:lnTo>
                  <a:lnTo>
                    <a:pt x="332" y="1068"/>
                  </a:lnTo>
                  <a:lnTo>
                    <a:pt x="318" y="1088"/>
                  </a:lnTo>
                  <a:lnTo>
                    <a:pt x="318" y="1088"/>
                  </a:lnTo>
                  <a:lnTo>
                    <a:pt x="302" y="1060"/>
                  </a:lnTo>
                  <a:lnTo>
                    <a:pt x="302" y="1060"/>
                  </a:lnTo>
                  <a:lnTo>
                    <a:pt x="274" y="1006"/>
                  </a:lnTo>
                  <a:lnTo>
                    <a:pt x="248" y="952"/>
                  </a:lnTo>
                  <a:lnTo>
                    <a:pt x="224" y="896"/>
                  </a:lnTo>
                  <a:lnTo>
                    <a:pt x="202" y="842"/>
                  </a:lnTo>
                  <a:lnTo>
                    <a:pt x="180" y="784"/>
                  </a:lnTo>
                  <a:lnTo>
                    <a:pt x="158" y="728"/>
                  </a:lnTo>
                  <a:lnTo>
                    <a:pt x="122" y="614"/>
                  </a:lnTo>
                  <a:lnTo>
                    <a:pt x="122" y="614"/>
                  </a:lnTo>
                  <a:lnTo>
                    <a:pt x="94" y="522"/>
                  </a:lnTo>
                  <a:lnTo>
                    <a:pt x="68" y="432"/>
                  </a:lnTo>
                  <a:lnTo>
                    <a:pt x="44" y="340"/>
                  </a:lnTo>
                  <a:lnTo>
                    <a:pt x="22" y="250"/>
                  </a:lnTo>
                  <a:lnTo>
                    <a:pt x="22" y="250"/>
                  </a:lnTo>
                  <a:lnTo>
                    <a:pt x="14" y="206"/>
                  </a:lnTo>
                  <a:lnTo>
                    <a:pt x="8" y="162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50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10" y="18"/>
                  </a:lnTo>
                  <a:lnTo>
                    <a:pt x="14" y="10"/>
                  </a:lnTo>
                  <a:lnTo>
                    <a:pt x="18" y="6"/>
                  </a:lnTo>
                  <a:lnTo>
                    <a:pt x="24" y="2"/>
                  </a:lnTo>
                  <a:lnTo>
                    <a:pt x="30" y="0"/>
                  </a:lnTo>
                  <a:lnTo>
                    <a:pt x="38" y="0"/>
                  </a:lnTo>
                  <a:lnTo>
                    <a:pt x="44" y="0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74" y="20"/>
                  </a:lnTo>
                  <a:lnTo>
                    <a:pt x="96" y="34"/>
                  </a:lnTo>
                  <a:lnTo>
                    <a:pt x="116" y="52"/>
                  </a:lnTo>
                  <a:lnTo>
                    <a:pt x="134" y="70"/>
                  </a:lnTo>
                  <a:lnTo>
                    <a:pt x="134" y="70"/>
                  </a:lnTo>
                  <a:lnTo>
                    <a:pt x="170" y="116"/>
                  </a:lnTo>
                  <a:lnTo>
                    <a:pt x="208" y="162"/>
                  </a:lnTo>
                  <a:lnTo>
                    <a:pt x="244" y="210"/>
                  </a:lnTo>
                  <a:lnTo>
                    <a:pt x="278" y="260"/>
                  </a:lnTo>
                  <a:lnTo>
                    <a:pt x="278" y="260"/>
                  </a:lnTo>
                  <a:lnTo>
                    <a:pt x="322" y="330"/>
                  </a:lnTo>
                  <a:lnTo>
                    <a:pt x="366" y="400"/>
                  </a:lnTo>
                  <a:lnTo>
                    <a:pt x="410" y="472"/>
                  </a:lnTo>
                  <a:lnTo>
                    <a:pt x="450" y="544"/>
                  </a:lnTo>
                  <a:lnTo>
                    <a:pt x="490" y="616"/>
                  </a:lnTo>
                  <a:lnTo>
                    <a:pt x="526" y="690"/>
                  </a:lnTo>
                  <a:lnTo>
                    <a:pt x="562" y="766"/>
                  </a:lnTo>
                  <a:lnTo>
                    <a:pt x="596" y="842"/>
                  </a:lnTo>
                  <a:lnTo>
                    <a:pt x="596" y="842"/>
                  </a:lnTo>
                  <a:lnTo>
                    <a:pt x="616" y="892"/>
                  </a:lnTo>
                  <a:lnTo>
                    <a:pt x="636" y="948"/>
                  </a:lnTo>
                  <a:lnTo>
                    <a:pt x="636" y="9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45 Light"/>
                <a:ea typeface="+mn-ea"/>
                <a:cs typeface="+mn-cs"/>
              </a:endParaRPr>
            </a:p>
          </p:txBody>
        </p:sp>
        <p:sp>
          <p:nvSpPr>
            <p:cNvPr id="133" name="Freeform 224">
              <a:extLst>
                <a:ext uri="{FF2B5EF4-FFF2-40B4-BE49-F238E27FC236}">
                  <a16:creationId xmlns:a16="http://schemas.microsoft.com/office/drawing/2014/main" id="{88EDFAC4-74DE-47C6-B723-92338E6E1AAF}"/>
                </a:ext>
              </a:extLst>
            </p:cNvPr>
            <p:cNvSpPr>
              <a:spLocks/>
            </p:cNvSpPr>
            <p:nvPr/>
          </p:nvSpPr>
          <p:spPr bwMode="gray">
            <a:xfrm>
              <a:off x="11056636" y="3494971"/>
              <a:ext cx="1282686" cy="1590660"/>
            </a:xfrm>
            <a:custGeom>
              <a:avLst/>
              <a:gdLst>
                <a:gd name="T0" fmla="*/ 522 w 808"/>
                <a:gd name="T1" fmla="*/ 0 h 1002"/>
                <a:gd name="T2" fmla="*/ 544 w 808"/>
                <a:gd name="T3" fmla="*/ 46 h 1002"/>
                <a:gd name="T4" fmla="*/ 570 w 808"/>
                <a:gd name="T5" fmla="*/ 84 h 1002"/>
                <a:gd name="T6" fmla="*/ 600 w 808"/>
                <a:gd name="T7" fmla="*/ 118 h 1002"/>
                <a:gd name="T8" fmla="*/ 634 w 808"/>
                <a:gd name="T9" fmla="*/ 146 h 1002"/>
                <a:gd name="T10" fmla="*/ 672 w 808"/>
                <a:gd name="T11" fmla="*/ 168 h 1002"/>
                <a:gd name="T12" fmla="*/ 712 w 808"/>
                <a:gd name="T13" fmla="*/ 184 h 1002"/>
                <a:gd name="T14" fmla="*/ 758 w 808"/>
                <a:gd name="T15" fmla="*/ 196 h 1002"/>
                <a:gd name="T16" fmla="*/ 808 w 808"/>
                <a:gd name="T17" fmla="*/ 202 h 1002"/>
                <a:gd name="T18" fmla="*/ 796 w 808"/>
                <a:gd name="T19" fmla="*/ 220 h 1002"/>
                <a:gd name="T20" fmla="*/ 768 w 808"/>
                <a:gd name="T21" fmla="*/ 264 h 1002"/>
                <a:gd name="T22" fmla="*/ 710 w 808"/>
                <a:gd name="T23" fmla="*/ 348 h 1002"/>
                <a:gd name="T24" fmla="*/ 614 w 808"/>
                <a:gd name="T25" fmla="*/ 470 h 1002"/>
                <a:gd name="T26" fmla="*/ 548 w 808"/>
                <a:gd name="T27" fmla="*/ 548 h 1002"/>
                <a:gd name="T28" fmla="*/ 384 w 808"/>
                <a:gd name="T29" fmla="*/ 728 h 1002"/>
                <a:gd name="T30" fmla="*/ 298 w 808"/>
                <a:gd name="T31" fmla="*/ 814 h 1002"/>
                <a:gd name="T32" fmla="*/ 208 w 808"/>
                <a:gd name="T33" fmla="*/ 896 h 1002"/>
                <a:gd name="T34" fmla="*/ 178 w 808"/>
                <a:gd name="T35" fmla="*/ 918 h 1002"/>
                <a:gd name="T36" fmla="*/ 84 w 808"/>
                <a:gd name="T37" fmla="*/ 984 h 1002"/>
                <a:gd name="T38" fmla="*/ 74 w 808"/>
                <a:gd name="T39" fmla="*/ 990 h 1002"/>
                <a:gd name="T40" fmla="*/ 42 w 808"/>
                <a:gd name="T41" fmla="*/ 1000 h 1002"/>
                <a:gd name="T42" fmla="*/ 34 w 808"/>
                <a:gd name="T43" fmla="*/ 1002 h 1002"/>
                <a:gd name="T44" fmla="*/ 20 w 808"/>
                <a:gd name="T45" fmla="*/ 1000 h 1002"/>
                <a:gd name="T46" fmla="*/ 8 w 808"/>
                <a:gd name="T47" fmla="*/ 992 h 1002"/>
                <a:gd name="T48" fmla="*/ 2 w 808"/>
                <a:gd name="T49" fmla="*/ 980 h 1002"/>
                <a:gd name="T50" fmla="*/ 0 w 808"/>
                <a:gd name="T51" fmla="*/ 972 h 1002"/>
                <a:gd name="T52" fmla="*/ 0 w 808"/>
                <a:gd name="T53" fmla="*/ 940 h 1002"/>
                <a:gd name="T54" fmla="*/ 14 w 808"/>
                <a:gd name="T55" fmla="*/ 880 h 1002"/>
                <a:gd name="T56" fmla="*/ 24 w 808"/>
                <a:gd name="T57" fmla="*/ 850 h 1002"/>
                <a:gd name="T58" fmla="*/ 64 w 808"/>
                <a:gd name="T59" fmla="*/ 746 h 1002"/>
                <a:gd name="T60" fmla="*/ 112 w 808"/>
                <a:gd name="T61" fmla="*/ 646 h 1002"/>
                <a:gd name="T62" fmla="*/ 216 w 808"/>
                <a:gd name="T63" fmla="*/ 450 h 1002"/>
                <a:gd name="T64" fmla="*/ 278 w 808"/>
                <a:gd name="T65" fmla="*/ 346 h 1002"/>
                <a:gd name="T66" fmla="*/ 374 w 808"/>
                <a:gd name="T67" fmla="*/ 196 h 1002"/>
                <a:gd name="T68" fmla="*/ 442 w 808"/>
                <a:gd name="T69" fmla="*/ 100 h 1002"/>
                <a:gd name="T70" fmla="*/ 478 w 808"/>
                <a:gd name="T71" fmla="*/ 52 h 1002"/>
                <a:gd name="T72" fmla="*/ 522 w 808"/>
                <a:gd name="T73" fmla="*/ 0 h 10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08" h="1002">
                  <a:moveTo>
                    <a:pt x="522" y="0"/>
                  </a:moveTo>
                  <a:lnTo>
                    <a:pt x="522" y="0"/>
                  </a:lnTo>
                  <a:lnTo>
                    <a:pt x="534" y="24"/>
                  </a:lnTo>
                  <a:lnTo>
                    <a:pt x="544" y="46"/>
                  </a:lnTo>
                  <a:lnTo>
                    <a:pt x="558" y="66"/>
                  </a:lnTo>
                  <a:lnTo>
                    <a:pt x="570" y="84"/>
                  </a:lnTo>
                  <a:lnTo>
                    <a:pt x="584" y="102"/>
                  </a:lnTo>
                  <a:lnTo>
                    <a:pt x="600" y="118"/>
                  </a:lnTo>
                  <a:lnTo>
                    <a:pt x="616" y="132"/>
                  </a:lnTo>
                  <a:lnTo>
                    <a:pt x="634" y="146"/>
                  </a:lnTo>
                  <a:lnTo>
                    <a:pt x="652" y="158"/>
                  </a:lnTo>
                  <a:lnTo>
                    <a:pt x="672" y="168"/>
                  </a:lnTo>
                  <a:lnTo>
                    <a:pt x="692" y="176"/>
                  </a:lnTo>
                  <a:lnTo>
                    <a:pt x="712" y="184"/>
                  </a:lnTo>
                  <a:lnTo>
                    <a:pt x="734" y="190"/>
                  </a:lnTo>
                  <a:lnTo>
                    <a:pt x="758" y="196"/>
                  </a:lnTo>
                  <a:lnTo>
                    <a:pt x="782" y="200"/>
                  </a:lnTo>
                  <a:lnTo>
                    <a:pt x="808" y="202"/>
                  </a:lnTo>
                  <a:lnTo>
                    <a:pt x="808" y="202"/>
                  </a:lnTo>
                  <a:lnTo>
                    <a:pt x="796" y="220"/>
                  </a:lnTo>
                  <a:lnTo>
                    <a:pt x="796" y="220"/>
                  </a:lnTo>
                  <a:lnTo>
                    <a:pt x="768" y="264"/>
                  </a:lnTo>
                  <a:lnTo>
                    <a:pt x="740" y="306"/>
                  </a:lnTo>
                  <a:lnTo>
                    <a:pt x="710" y="348"/>
                  </a:lnTo>
                  <a:lnTo>
                    <a:pt x="678" y="390"/>
                  </a:lnTo>
                  <a:lnTo>
                    <a:pt x="614" y="470"/>
                  </a:lnTo>
                  <a:lnTo>
                    <a:pt x="548" y="548"/>
                  </a:lnTo>
                  <a:lnTo>
                    <a:pt x="548" y="548"/>
                  </a:lnTo>
                  <a:lnTo>
                    <a:pt x="468" y="640"/>
                  </a:lnTo>
                  <a:lnTo>
                    <a:pt x="384" y="728"/>
                  </a:lnTo>
                  <a:lnTo>
                    <a:pt x="342" y="772"/>
                  </a:lnTo>
                  <a:lnTo>
                    <a:pt x="298" y="814"/>
                  </a:lnTo>
                  <a:lnTo>
                    <a:pt x="254" y="856"/>
                  </a:lnTo>
                  <a:lnTo>
                    <a:pt x="208" y="896"/>
                  </a:lnTo>
                  <a:lnTo>
                    <a:pt x="208" y="896"/>
                  </a:lnTo>
                  <a:lnTo>
                    <a:pt x="178" y="918"/>
                  </a:lnTo>
                  <a:lnTo>
                    <a:pt x="148" y="942"/>
                  </a:lnTo>
                  <a:lnTo>
                    <a:pt x="84" y="984"/>
                  </a:lnTo>
                  <a:lnTo>
                    <a:pt x="84" y="984"/>
                  </a:lnTo>
                  <a:lnTo>
                    <a:pt x="74" y="990"/>
                  </a:lnTo>
                  <a:lnTo>
                    <a:pt x="64" y="994"/>
                  </a:lnTo>
                  <a:lnTo>
                    <a:pt x="42" y="1000"/>
                  </a:lnTo>
                  <a:lnTo>
                    <a:pt x="42" y="1000"/>
                  </a:lnTo>
                  <a:lnTo>
                    <a:pt x="34" y="1002"/>
                  </a:lnTo>
                  <a:lnTo>
                    <a:pt x="26" y="1002"/>
                  </a:lnTo>
                  <a:lnTo>
                    <a:pt x="20" y="1000"/>
                  </a:lnTo>
                  <a:lnTo>
                    <a:pt x="14" y="998"/>
                  </a:lnTo>
                  <a:lnTo>
                    <a:pt x="8" y="992"/>
                  </a:lnTo>
                  <a:lnTo>
                    <a:pt x="6" y="986"/>
                  </a:lnTo>
                  <a:lnTo>
                    <a:pt x="2" y="980"/>
                  </a:lnTo>
                  <a:lnTo>
                    <a:pt x="0" y="972"/>
                  </a:lnTo>
                  <a:lnTo>
                    <a:pt x="0" y="972"/>
                  </a:lnTo>
                  <a:lnTo>
                    <a:pt x="0" y="956"/>
                  </a:lnTo>
                  <a:lnTo>
                    <a:pt x="0" y="940"/>
                  </a:lnTo>
                  <a:lnTo>
                    <a:pt x="6" y="910"/>
                  </a:lnTo>
                  <a:lnTo>
                    <a:pt x="14" y="880"/>
                  </a:lnTo>
                  <a:lnTo>
                    <a:pt x="24" y="850"/>
                  </a:lnTo>
                  <a:lnTo>
                    <a:pt x="24" y="850"/>
                  </a:lnTo>
                  <a:lnTo>
                    <a:pt x="42" y="798"/>
                  </a:lnTo>
                  <a:lnTo>
                    <a:pt x="64" y="746"/>
                  </a:lnTo>
                  <a:lnTo>
                    <a:pt x="88" y="696"/>
                  </a:lnTo>
                  <a:lnTo>
                    <a:pt x="112" y="646"/>
                  </a:lnTo>
                  <a:lnTo>
                    <a:pt x="162" y="546"/>
                  </a:lnTo>
                  <a:lnTo>
                    <a:pt x="216" y="450"/>
                  </a:lnTo>
                  <a:lnTo>
                    <a:pt x="216" y="450"/>
                  </a:lnTo>
                  <a:lnTo>
                    <a:pt x="278" y="346"/>
                  </a:lnTo>
                  <a:lnTo>
                    <a:pt x="340" y="246"/>
                  </a:lnTo>
                  <a:lnTo>
                    <a:pt x="374" y="196"/>
                  </a:lnTo>
                  <a:lnTo>
                    <a:pt x="408" y="148"/>
                  </a:lnTo>
                  <a:lnTo>
                    <a:pt x="442" y="100"/>
                  </a:lnTo>
                  <a:lnTo>
                    <a:pt x="478" y="52"/>
                  </a:lnTo>
                  <a:lnTo>
                    <a:pt x="478" y="52"/>
                  </a:lnTo>
                  <a:lnTo>
                    <a:pt x="522" y="0"/>
                  </a:lnTo>
                  <a:lnTo>
                    <a:pt x="52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45 Light"/>
                <a:ea typeface="+mn-ea"/>
                <a:cs typeface="+mn-cs"/>
              </a:endParaRPr>
            </a:p>
          </p:txBody>
        </p:sp>
        <p:sp>
          <p:nvSpPr>
            <p:cNvPr id="134" name="Freeform 225">
              <a:extLst>
                <a:ext uri="{FF2B5EF4-FFF2-40B4-BE49-F238E27FC236}">
                  <a16:creationId xmlns:a16="http://schemas.microsoft.com/office/drawing/2014/main" id="{7770E2C1-8D82-4D3B-87C0-0BA9E2EC18E9}"/>
                </a:ext>
              </a:extLst>
            </p:cNvPr>
            <p:cNvSpPr>
              <a:spLocks/>
            </p:cNvSpPr>
            <p:nvPr/>
          </p:nvSpPr>
          <p:spPr bwMode="gray">
            <a:xfrm>
              <a:off x="12760334" y="3175008"/>
              <a:ext cx="1784341" cy="609598"/>
            </a:xfrm>
            <a:custGeom>
              <a:avLst/>
              <a:gdLst>
                <a:gd name="T0" fmla="*/ 42 w 1124"/>
                <a:gd name="T1" fmla="*/ 0 h 384"/>
                <a:gd name="T2" fmla="*/ 118 w 1124"/>
                <a:gd name="T3" fmla="*/ 0 h 384"/>
                <a:gd name="T4" fmla="*/ 178 w 1124"/>
                <a:gd name="T5" fmla="*/ 6 h 384"/>
                <a:gd name="T6" fmla="*/ 298 w 1124"/>
                <a:gd name="T7" fmla="*/ 20 h 384"/>
                <a:gd name="T8" fmla="*/ 476 w 1124"/>
                <a:gd name="T9" fmla="*/ 50 h 384"/>
                <a:gd name="T10" fmla="*/ 594 w 1124"/>
                <a:gd name="T11" fmla="*/ 74 h 384"/>
                <a:gd name="T12" fmla="*/ 794 w 1124"/>
                <a:gd name="T13" fmla="*/ 124 h 384"/>
                <a:gd name="T14" fmla="*/ 894 w 1124"/>
                <a:gd name="T15" fmla="*/ 154 h 384"/>
                <a:gd name="T16" fmla="*/ 992 w 1124"/>
                <a:gd name="T17" fmla="*/ 190 h 384"/>
                <a:gd name="T18" fmla="*/ 1028 w 1124"/>
                <a:gd name="T19" fmla="*/ 206 h 384"/>
                <a:gd name="T20" fmla="*/ 1064 w 1124"/>
                <a:gd name="T21" fmla="*/ 224 h 384"/>
                <a:gd name="T22" fmla="*/ 1102 w 1124"/>
                <a:gd name="T23" fmla="*/ 250 h 384"/>
                <a:gd name="T24" fmla="*/ 1112 w 1124"/>
                <a:gd name="T25" fmla="*/ 260 h 384"/>
                <a:gd name="T26" fmla="*/ 1124 w 1124"/>
                <a:gd name="T27" fmla="*/ 278 h 384"/>
                <a:gd name="T28" fmla="*/ 1122 w 1124"/>
                <a:gd name="T29" fmla="*/ 298 h 384"/>
                <a:gd name="T30" fmla="*/ 1106 w 1124"/>
                <a:gd name="T31" fmla="*/ 312 h 384"/>
                <a:gd name="T32" fmla="*/ 1094 w 1124"/>
                <a:gd name="T33" fmla="*/ 318 h 384"/>
                <a:gd name="T34" fmla="*/ 1030 w 1124"/>
                <a:gd name="T35" fmla="*/ 340 h 384"/>
                <a:gd name="T36" fmla="*/ 962 w 1124"/>
                <a:gd name="T37" fmla="*/ 356 h 384"/>
                <a:gd name="T38" fmla="*/ 894 w 1124"/>
                <a:gd name="T39" fmla="*/ 366 h 384"/>
                <a:gd name="T40" fmla="*/ 758 w 1124"/>
                <a:gd name="T41" fmla="*/ 378 h 384"/>
                <a:gd name="T42" fmla="*/ 620 w 1124"/>
                <a:gd name="T43" fmla="*/ 384 h 384"/>
                <a:gd name="T44" fmla="*/ 484 w 1124"/>
                <a:gd name="T45" fmla="*/ 384 h 384"/>
                <a:gd name="T46" fmla="*/ 414 w 1124"/>
                <a:gd name="T47" fmla="*/ 382 h 384"/>
                <a:gd name="T48" fmla="*/ 246 w 1124"/>
                <a:gd name="T49" fmla="*/ 370 h 384"/>
                <a:gd name="T50" fmla="*/ 78 w 1124"/>
                <a:gd name="T51" fmla="*/ 356 h 384"/>
                <a:gd name="T52" fmla="*/ 0 w 1124"/>
                <a:gd name="T53" fmla="*/ 344 h 384"/>
                <a:gd name="T54" fmla="*/ 14 w 1124"/>
                <a:gd name="T55" fmla="*/ 324 h 384"/>
                <a:gd name="T56" fmla="*/ 40 w 1124"/>
                <a:gd name="T57" fmla="*/ 282 h 384"/>
                <a:gd name="T58" fmla="*/ 60 w 1124"/>
                <a:gd name="T59" fmla="*/ 242 h 384"/>
                <a:gd name="T60" fmla="*/ 72 w 1124"/>
                <a:gd name="T61" fmla="*/ 198 h 384"/>
                <a:gd name="T62" fmla="*/ 78 w 1124"/>
                <a:gd name="T63" fmla="*/ 156 h 384"/>
                <a:gd name="T64" fmla="*/ 76 w 1124"/>
                <a:gd name="T65" fmla="*/ 112 h 384"/>
                <a:gd name="T66" fmla="*/ 68 w 1124"/>
                <a:gd name="T67" fmla="*/ 68 h 384"/>
                <a:gd name="T68" fmla="*/ 54 w 1124"/>
                <a:gd name="T69" fmla="*/ 22 h 384"/>
                <a:gd name="T70" fmla="*/ 42 w 1124"/>
                <a:gd name="T71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24" h="384">
                  <a:moveTo>
                    <a:pt x="42" y="0"/>
                  </a:moveTo>
                  <a:lnTo>
                    <a:pt x="42" y="0"/>
                  </a:lnTo>
                  <a:lnTo>
                    <a:pt x="82" y="0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78" y="6"/>
                  </a:lnTo>
                  <a:lnTo>
                    <a:pt x="238" y="12"/>
                  </a:lnTo>
                  <a:lnTo>
                    <a:pt x="298" y="20"/>
                  </a:lnTo>
                  <a:lnTo>
                    <a:pt x="358" y="28"/>
                  </a:lnTo>
                  <a:lnTo>
                    <a:pt x="476" y="50"/>
                  </a:lnTo>
                  <a:lnTo>
                    <a:pt x="594" y="74"/>
                  </a:lnTo>
                  <a:lnTo>
                    <a:pt x="594" y="74"/>
                  </a:lnTo>
                  <a:lnTo>
                    <a:pt x="694" y="98"/>
                  </a:lnTo>
                  <a:lnTo>
                    <a:pt x="794" y="124"/>
                  </a:lnTo>
                  <a:lnTo>
                    <a:pt x="844" y="138"/>
                  </a:lnTo>
                  <a:lnTo>
                    <a:pt x="894" y="154"/>
                  </a:lnTo>
                  <a:lnTo>
                    <a:pt x="942" y="170"/>
                  </a:lnTo>
                  <a:lnTo>
                    <a:pt x="992" y="190"/>
                  </a:lnTo>
                  <a:lnTo>
                    <a:pt x="992" y="190"/>
                  </a:lnTo>
                  <a:lnTo>
                    <a:pt x="1028" y="206"/>
                  </a:lnTo>
                  <a:lnTo>
                    <a:pt x="1064" y="224"/>
                  </a:lnTo>
                  <a:lnTo>
                    <a:pt x="1064" y="224"/>
                  </a:lnTo>
                  <a:lnTo>
                    <a:pt x="1084" y="236"/>
                  </a:lnTo>
                  <a:lnTo>
                    <a:pt x="1102" y="250"/>
                  </a:lnTo>
                  <a:lnTo>
                    <a:pt x="1102" y="250"/>
                  </a:lnTo>
                  <a:lnTo>
                    <a:pt x="1112" y="260"/>
                  </a:lnTo>
                  <a:lnTo>
                    <a:pt x="1120" y="270"/>
                  </a:lnTo>
                  <a:lnTo>
                    <a:pt x="1124" y="278"/>
                  </a:lnTo>
                  <a:lnTo>
                    <a:pt x="1124" y="288"/>
                  </a:lnTo>
                  <a:lnTo>
                    <a:pt x="1122" y="298"/>
                  </a:lnTo>
                  <a:lnTo>
                    <a:pt x="1116" y="306"/>
                  </a:lnTo>
                  <a:lnTo>
                    <a:pt x="1106" y="312"/>
                  </a:lnTo>
                  <a:lnTo>
                    <a:pt x="1094" y="318"/>
                  </a:lnTo>
                  <a:lnTo>
                    <a:pt x="1094" y="318"/>
                  </a:lnTo>
                  <a:lnTo>
                    <a:pt x="1062" y="330"/>
                  </a:lnTo>
                  <a:lnTo>
                    <a:pt x="1030" y="340"/>
                  </a:lnTo>
                  <a:lnTo>
                    <a:pt x="996" y="350"/>
                  </a:lnTo>
                  <a:lnTo>
                    <a:pt x="962" y="356"/>
                  </a:lnTo>
                  <a:lnTo>
                    <a:pt x="962" y="356"/>
                  </a:lnTo>
                  <a:lnTo>
                    <a:pt x="894" y="366"/>
                  </a:lnTo>
                  <a:lnTo>
                    <a:pt x="826" y="374"/>
                  </a:lnTo>
                  <a:lnTo>
                    <a:pt x="758" y="378"/>
                  </a:lnTo>
                  <a:lnTo>
                    <a:pt x="690" y="382"/>
                  </a:lnTo>
                  <a:lnTo>
                    <a:pt x="620" y="384"/>
                  </a:lnTo>
                  <a:lnTo>
                    <a:pt x="552" y="384"/>
                  </a:lnTo>
                  <a:lnTo>
                    <a:pt x="484" y="384"/>
                  </a:lnTo>
                  <a:lnTo>
                    <a:pt x="414" y="382"/>
                  </a:lnTo>
                  <a:lnTo>
                    <a:pt x="414" y="382"/>
                  </a:lnTo>
                  <a:lnTo>
                    <a:pt x="330" y="378"/>
                  </a:lnTo>
                  <a:lnTo>
                    <a:pt x="246" y="370"/>
                  </a:lnTo>
                  <a:lnTo>
                    <a:pt x="78" y="356"/>
                  </a:lnTo>
                  <a:lnTo>
                    <a:pt x="78" y="356"/>
                  </a:lnTo>
                  <a:lnTo>
                    <a:pt x="40" y="350"/>
                  </a:lnTo>
                  <a:lnTo>
                    <a:pt x="0" y="344"/>
                  </a:lnTo>
                  <a:lnTo>
                    <a:pt x="0" y="344"/>
                  </a:lnTo>
                  <a:lnTo>
                    <a:pt x="14" y="324"/>
                  </a:lnTo>
                  <a:lnTo>
                    <a:pt x="28" y="302"/>
                  </a:lnTo>
                  <a:lnTo>
                    <a:pt x="40" y="282"/>
                  </a:lnTo>
                  <a:lnTo>
                    <a:pt x="52" y="262"/>
                  </a:lnTo>
                  <a:lnTo>
                    <a:pt x="60" y="242"/>
                  </a:lnTo>
                  <a:lnTo>
                    <a:pt x="66" y="220"/>
                  </a:lnTo>
                  <a:lnTo>
                    <a:pt x="72" y="198"/>
                  </a:lnTo>
                  <a:lnTo>
                    <a:pt x="76" y="178"/>
                  </a:lnTo>
                  <a:lnTo>
                    <a:pt x="78" y="156"/>
                  </a:lnTo>
                  <a:lnTo>
                    <a:pt x="78" y="134"/>
                  </a:lnTo>
                  <a:lnTo>
                    <a:pt x="76" y="112"/>
                  </a:lnTo>
                  <a:lnTo>
                    <a:pt x="72" y="90"/>
                  </a:lnTo>
                  <a:lnTo>
                    <a:pt x="68" y="68"/>
                  </a:lnTo>
                  <a:lnTo>
                    <a:pt x="62" y="46"/>
                  </a:lnTo>
                  <a:lnTo>
                    <a:pt x="54" y="22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45 Light"/>
                <a:ea typeface="+mn-ea"/>
                <a:cs typeface="+mn-cs"/>
              </a:endParaRPr>
            </a:p>
          </p:txBody>
        </p:sp>
        <p:sp>
          <p:nvSpPr>
            <p:cNvPr id="135" name="Freeform 226">
              <a:extLst>
                <a:ext uri="{FF2B5EF4-FFF2-40B4-BE49-F238E27FC236}">
                  <a16:creationId xmlns:a16="http://schemas.microsoft.com/office/drawing/2014/main" id="{77FBAB1F-DEAF-4D0B-9FE7-55658A0E53D0}"/>
                </a:ext>
              </a:extLst>
            </p:cNvPr>
            <p:cNvSpPr>
              <a:spLocks/>
            </p:cNvSpPr>
            <p:nvPr/>
          </p:nvSpPr>
          <p:spPr bwMode="gray">
            <a:xfrm>
              <a:off x="12087219" y="3895725"/>
              <a:ext cx="685808" cy="1584324"/>
            </a:xfrm>
            <a:custGeom>
              <a:avLst/>
              <a:gdLst>
                <a:gd name="T0" fmla="*/ 320 w 432"/>
                <a:gd name="T1" fmla="*/ 2 h 998"/>
                <a:gd name="T2" fmla="*/ 320 w 432"/>
                <a:gd name="T3" fmla="*/ 2 h 998"/>
                <a:gd name="T4" fmla="*/ 334 w 432"/>
                <a:gd name="T5" fmla="*/ 130 h 998"/>
                <a:gd name="T6" fmla="*/ 334 w 432"/>
                <a:gd name="T7" fmla="*/ 130 h 998"/>
                <a:gd name="T8" fmla="*/ 380 w 432"/>
                <a:gd name="T9" fmla="*/ 526 h 998"/>
                <a:gd name="T10" fmla="*/ 380 w 432"/>
                <a:gd name="T11" fmla="*/ 526 h 998"/>
                <a:gd name="T12" fmla="*/ 430 w 432"/>
                <a:gd name="T13" fmla="*/ 966 h 998"/>
                <a:gd name="T14" fmla="*/ 430 w 432"/>
                <a:gd name="T15" fmla="*/ 966 h 998"/>
                <a:gd name="T16" fmla="*/ 432 w 432"/>
                <a:gd name="T17" fmla="*/ 980 h 998"/>
                <a:gd name="T18" fmla="*/ 432 w 432"/>
                <a:gd name="T19" fmla="*/ 980 h 998"/>
                <a:gd name="T20" fmla="*/ 432 w 432"/>
                <a:gd name="T21" fmla="*/ 988 h 998"/>
                <a:gd name="T22" fmla="*/ 430 w 432"/>
                <a:gd name="T23" fmla="*/ 994 h 998"/>
                <a:gd name="T24" fmla="*/ 424 w 432"/>
                <a:gd name="T25" fmla="*/ 998 h 998"/>
                <a:gd name="T26" fmla="*/ 414 w 432"/>
                <a:gd name="T27" fmla="*/ 998 h 998"/>
                <a:gd name="T28" fmla="*/ 414 w 432"/>
                <a:gd name="T29" fmla="*/ 998 h 998"/>
                <a:gd name="T30" fmla="*/ 262 w 432"/>
                <a:gd name="T31" fmla="*/ 998 h 998"/>
                <a:gd name="T32" fmla="*/ 262 w 432"/>
                <a:gd name="T33" fmla="*/ 998 h 998"/>
                <a:gd name="T34" fmla="*/ 24 w 432"/>
                <a:gd name="T35" fmla="*/ 998 h 998"/>
                <a:gd name="T36" fmla="*/ 24 w 432"/>
                <a:gd name="T37" fmla="*/ 998 h 998"/>
                <a:gd name="T38" fmla="*/ 0 w 432"/>
                <a:gd name="T39" fmla="*/ 996 h 998"/>
                <a:gd name="T40" fmla="*/ 0 w 432"/>
                <a:gd name="T41" fmla="*/ 996 h 998"/>
                <a:gd name="T42" fmla="*/ 6 w 432"/>
                <a:gd name="T43" fmla="*/ 930 h 998"/>
                <a:gd name="T44" fmla="*/ 6 w 432"/>
                <a:gd name="T45" fmla="*/ 930 h 998"/>
                <a:gd name="T46" fmla="*/ 52 w 432"/>
                <a:gd name="T47" fmla="*/ 532 h 998"/>
                <a:gd name="T48" fmla="*/ 52 w 432"/>
                <a:gd name="T49" fmla="*/ 532 h 998"/>
                <a:gd name="T50" fmla="*/ 62 w 432"/>
                <a:gd name="T51" fmla="*/ 446 h 998"/>
                <a:gd name="T52" fmla="*/ 72 w 432"/>
                <a:gd name="T53" fmla="*/ 358 h 998"/>
                <a:gd name="T54" fmla="*/ 72 w 432"/>
                <a:gd name="T55" fmla="*/ 358 h 998"/>
                <a:gd name="T56" fmla="*/ 78 w 432"/>
                <a:gd name="T57" fmla="*/ 340 h 998"/>
                <a:gd name="T58" fmla="*/ 82 w 432"/>
                <a:gd name="T59" fmla="*/ 332 h 998"/>
                <a:gd name="T60" fmla="*/ 86 w 432"/>
                <a:gd name="T61" fmla="*/ 324 h 998"/>
                <a:gd name="T62" fmla="*/ 86 w 432"/>
                <a:gd name="T63" fmla="*/ 324 h 998"/>
                <a:gd name="T64" fmla="*/ 142 w 432"/>
                <a:gd name="T65" fmla="*/ 256 h 998"/>
                <a:gd name="T66" fmla="*/ 194 w 432"/>
                <a:gd name="T67" fmla="*/ 186 h 998"/>
                <a:gd name="T68" fmla="*/ 246 w 432"/>
                <a:gd name="T69" fmla="*/ 114 h 998"/>
                <a:gd name="T70" fmla="*/ 270 w 432"/>
                <a:gd name="T71" fmla="*/ 78 h 998"/>
                <a:gd name="T72" fmla="*/ 292 w 432"/>
                <a:gd name="T73" fmla="*/ 40 h 998"/>
                <a:gd name="T74" fmla="*/ 292 w 432"/>
                <a:gd name="T75" fmla="*/ 40 h 998"/>
                <a:gd name="T76" fmla="*/ 314 w 432"/>
                <a:gd name="T77" fmla="*/ 0 h 998"/>
                <a:gd name="T78" fmla="*/ 314 w 432"/>
                <a:gd name="T79" fmla="*/ 0 h 998"/>
                <a:gd name="T80" fmla="*/ 320 w 432"/>
                <a:gd name="T81" fmla="*/ 2 h 998"/>
                <a:gd name="T82" fmla="*/ 320 w 432"/>
                <a:gd name="T83" fmla="*/ 2 h 9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32" h="998">
                  <a:moveTo>
                    <a:pt x="320" y="2"/>
                  </a:moveTo>
                  <a:lnTo>
                    <a:pt x="320" y="2"/>
                  </a:lnTo>
                  <a:lnTo>
                    <a:pt x="334" y="130"/>
                  </a:lnTo>
                  <a:lnTo>
                    <a:pt x="334" y="130"/>
                  </a:lnTo>
                  <a:lnTo>
                    <a:pt x="380" y="526"/>
                  </a:lnTo>
                  <a:lnTo>
                    <a:pt x="380" y="526"/>
                  </a:lnTo>
                  <a:lnTo>
                    <a:pt x="430" y="966"/>
                  </a:lnTo>
                  <a:lnTo>
                    <a:pt x="430" y="966"/>
                  </a:lnTo>
                  <a:lnTo>
                    <a:pt x="432" y="980"/>
                  </a:lnTo>
                  <a:lnTo>
                    <a:pt x="432" y="980"/>
                  </a:lnTo>
                  <a:lnTo>
                    <a:pt x="432" y="988"/>
                  </a:lnTo>
                  <a:lnTo>
                    <a:pt x="430" y="994"/>
                  </a:lnTo>
                  <a:lnTo>
                    <a:pt x="424" y="998"/>
                  </a:lnTo>
                  <a:lnTo>
                    <a:pt x="414" y="998"/>
                  </a:lnTo>
                  <a:lnTo>
                    <a:pt x="414" y="998"/>
                  </a:lnTo>
                  <a:lnTo>
                    <a:pt x="262" y="998"/>
                  </a:lnTo>
                  <a:lnTo>
                    <a:pt x="262" y="998"/>
                  </a:lnTo>
                  <a:lnTo>
                    <a:pt x="24" y="998"/>
                  </a:lnTo>
                  <a:lnTo>
                    <a:pt x="24" y="998"/>
                  </a:lnTo>
                  <a:lnTo>
                    <a:pt x="0" y="996"/>
                  </a:lnTo>
                  <a:lnTo>
                    <a:pt x="0" y="996"/>
                  </a:lnTo>
                  <a:lnTo>
                    <a:pt x="6" y="930"/>
                  </a:lnTo>
                  <a:lnTo>
                    <a:pt x="6" y="930"/>
                  </a:lnTo>
                  <a:lnTo>
                    <a:pt x="52" y="532"/>
                  </a:lnTo>
                  <a:lnTo>
                    <a:pt x="52" y="532"/>
                  </a:lnTo>
                  <a:lnTo>
                    <a:pt x="62" y="446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8" y="340"/>
                  </a:lnTo>
                  <a:lnTo>
                    <a:pt x="82" y="332"/>
                  </a:lnTo>
                  <a:lnTo>
                    <a:pt x="86" y="324"/>
                  </a:lnTo>
                  <a:lnTo>
                    <a:pt x="86" y="324"/>
                  </a:lnTo>
                  <a:lnTo>
                    <a:pt x="142" y="256"/>
                  </a:lnTo>
                  <a:lnTo>
                    <a:pt x="194" y="186"/>
                  </a:lnTo>
                  <a:lnTo>
                    <a:pt x="246" y="114"/>
                  </a:lnTo>
                  <a:lnTo>
                    <a:pt x="270" y="78"/>
                  </a:lnTo>
                  <a:lnTo>
                    <a:pt x="292" y="40"/>
                  </a:lnTo>
                  <a:lnTo>
                    <a:pt x="292" y="40"/>
                  </a:lnTo>
                  <a:lnTo>
                    <a:pt x="314" y="0"/>
                  </a:lnTo>
                  <a:lnTo>
                    <a:pt x="314" y="0"/>
                  </a:lnTo>
                  <a:lnTo>
                    <a:pt x="320" y="2"/>
                  </a:lnTo>
                  <a:lnTo>
                    <a:pt x="320" y="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45 Light"/>
                <a:ea typeface="+mn-ea"/>
                <a:cs typeface="+mn-cs"/>
              </a:endParaRPr>
            </a:p>
          </p:txBody>
        </p:sp>
        <p:sp>
          <p:nvSpPr>
            <p:cNvPr id="136" name="Freeform 227">
              <a:extLst>
                <a:ext uri="{FF2B5EF4-FFF2-40B4-BE49-F238E27FC236}">
                  <a16:creationId xmlns:a16="http://schemas.microsoft.com/office/drawing/2014/main" id="{8164BD79-911F-4B68-8BC3-A5771C6C6CD1}"/>
                </a:ext>
              </a:extLst>
            </p:cNvPr>
            <p:cNvSpPr>
              <a:spLocks/>
            </p:cNvSpPr>
            <p:nvPr/>
          </p:nvSpPr>
          <p:spPr bwMode="gray">
            <a:xfrm>
              <a:off x="12090392" y="3073408"/>
              <a:ext cx="654057" cy="650869"/>
            </a:xfrm>
            <a:custGeom>
              <a:avLst/>
              <a:gdLst>
                <a:gd name="T0" fmla="*/ 204 w 412"/>
                <a:gd name="T1" fmla="*/ 0 h 410"/>
                <a:gd name="T2" fmla="*/ 246 w 412"/>
                <a:gd name="T3" fmla="*/ 4 h 410"/>
                <a:gd name="T4" fmla="*/ 284 w 412"/>
                <a:gd name="T5" fmla="*/ 16 h 410"/>
                <a:gd name="T6" fmla="*/ 320 w 412"/>
                <a:gd name="T7" fmla="*/ 34 h 410"/>
                <a:gd name="T8" fmla="*/ 350 w 412"/>
                <a:gd name="T9" fmla="*/ 58 h 410"/>
                <a:gd name="T10" fmla="*/ 376 w 412"/>
                <a:gd name="T11" fmla="*/ 90 h 410"/>
                <a:gd name="T12" fmla="*/ 394 w 412"/>
                <a:gd name="T13" fmla="*/ 124 h 410"/>
                <a:gd name="T14" fmla="*/ 406 w 412"/>
                <a:gd name="T15" fmla="*/ 162 h 410"/>
                <a:gd name="T16" fmla="*/ 412 w 412"/>
                <a:gd name="T17" fmla="*/ 204 h 410"/>
                <a:gd name="T18" fmla="*/ 410 w 412"/>
                <a:gd name="T19" fmla="*/ 224 h 410"/>
                <a:gd name="T20" fmla="*/ 402 w 412"/>
                <a:gd name="T21" fmla="*/ 264 h 410"/>
                <a:gd name="T22" fmla="*/ 388 w 412"/>
                <a:gd name="T23" fmla="*/ 302 h 410"/>
                <a:gd name="T24" fmla="*/ 366 w 412"/>
                <a:gd name="T25" fmla="*/ 334 h 410"/>
                <a:gd name="T26" fmla="*/ 338 w 412"/>
                <a:gd name="T27" fmla="*/ 362 h 410"/>
                <a:gd name="T28" fmla="*/ 306 w 412"/>
                <a:gd name="T29" fmla="*/ 384 h 410"/>
                <a:gd name="T30" fmla="*/ 268 w 412"/>
                <a:gd name="T31" fmla="*/ 400 h 410"/>
                <a:gd name="T32" fmla="*/ 228 w 412"/>
                <a:gd name="T33" fmla="*/ 410 h 410"/>
                <a:gd name="T34" fmla="*/ 208 w 412"/>
                <a:gd name="T35" fmla="*/ 410 h 410"/>
                <a:gd name="T36" fmla="*/ 166 w 412"/>
                <a:gd name="T37" fmla="*/ 406 h 410"/>
                <a:gd name="T38" fmla="*/ 128 w 412"/>
                <a:gd name="T39" fmla="*/ 396 h 410"/>
                <a:gd name="T40" fmla="*/ 92 w 412"/>
                <a:gd name="T41" fmla="*/ 376 h 410"/>
                <a:gd name="T42" fmla="*/ 62 w 412"/>
                <a:gd name="T43" fmla="*/ 352 h 410"/>
                <a:gd name="T44" fmla="*/ 36 w 412"/>
                <a:gd name="T45" fmla="*/ 322 h 410"/>
                <a:gd name="T46" fmla="*/ 16 w 412"/>
                <a:gd name="T47" fmla="*/ 288 h 410"/>
                <a:gd name="T48" fmla="*/ 4 w 412"/>
                <a:gd name="T49" fmla="*/ 250 h 410"/>
                <a:gd name="T50" fmla="*/ 0 w 412"/>
                <a:gd name="T51" fmla="*/ 208 h 410"/>
                <a:gd name="T52" fmla="*/ 0 w 412"/>
                <a:gd name="T53" fmla="*/ 188 h 410"/>
                <a:gd name="T54" fmla="*/ 8 w 412"/>
                <a:gd name="T55" fmla="*/ 146 h 410"/>
                <a:gd name="T56" fmla="*/ 24 w 412"/>
                <a:gd name="T57" fmla="*/ 110 h 410"/>
                <a:gd name="T58" fmla="*/ 44 w 412"/>
                <a:gd name="T59" fmla="*/ 76 h 410"/>
                <a:gd name="T60" fmla="*/ 72 w 412"/>
                <a:gd name="T61" fmla="*/ 48 h 410"/>
                <a:gd name="T62" fmla="*/ 106 w 412"/>
                <a:gd name="T63" fmla="*/ 26 h 410"/>
                <a:gd name="T64" fmla="*/ 142 w 412"/>
                <a:gd name="T65" fmla="*/ 10 h 410"/>
                <a:gd name="T66" fmla="*/ 184 w 412"/>
                <a:gd name="T67" fmla="*/ 2 h 410"/>
                <a:gd name="T68" fmla="*/ 204 w 412"/>
                <a:gd name="T69" fmla="*/ 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12" h="410">
                  <a:moveTo>
                    <a:pt x="204" y="0"/>
                  </a:moveTo>
                  <a:lnTo>
                    <a:pt x="204" y="0"/>
                  </a:lnTo>
                  <a:lnTo>
                    <a:pt x="226" y="0"/>
                  </a:lnTo>
                  <a:lnTo>
                    <a:pt x="246" y="4"/>
                  </a:lnTo>
                  <a:lnTo>
                    <a:pt x="266" y="8"/>
                  </a:lnTo>
                  <a:lnTo>
                    <a:pt x="284" y="16"/>
                  </a:lnTo>
                  <a:lnTo>
                    <a:pt x="302" y="24"/>
                  </a:lnTo>
                  <a:lnTo>
                    <a:pt x="320" y="34"/>
                  </a:lnTo>
                  <a:lnTo>
                    <a:pt x="336" y="46"/>
                  </a:lnTo>
                  <a:lnTo>
                    <a:pt x="350" y="58"/>
                  </a:lnTo>
                  <a:lnTo>
                    <a:pt x="364" y="74"/>
                  </a:lnTo>
                  <a:lnTo>
                    <a:pt x="376" y="90"/>
                  </a:lnTo>
                  <a:lnTo>
                    <a:pt x="386" y="106"/>
                  </a:lnTo>
                  <a:lnTo>
                    <a:pt x="394" y="124"/>
                  </a:lnTo>
                  <a:lnTo>
                    <a:pt x="402" y="142"/>
                  </a:lnTo>
                  <a:lnTo>
                    <a:pt x="406" y="162"/>
                  </a:lnTo>
                  <a:lnTo>
                    <a:pt x="410" y="182"/>
                  </a:lnTo>
                  <a:lnTo>
                    <a:pt x="412" y="204"/>
                  </a:lnTo>
                  <a:lnTo>
                    <a:pt x="412" y="204"/>
                  </a:lnTo>
                  <a:lnTo>
                    <a:pt x="410" y="224"/>
                  </a:lnTo>
                  <a:lnTo>
                    <a:pt x="408" y="244"/>
                  </a:lnTo>
                  <a:lnTo>
                    <a:pt x="402" y="264"/>
                  </a:lnTo>
                  <a:lnTo>
                    <a:pt x="396" y="284"/>
                  </a:lnTo>
                  <a:lnTo>
                    <a:pt x="388" y="302"/>
                  </a:lnTo>
                  <a:lnTo>
                    <a:pt x="378" y="318"/>
                  </a:lnTo>
                  <a:lnTo>
                    <a:pt x="366" y="334"/>
                  </a:lnTo>
                  <a:lnTo>
                    <a:pt x="352" y="348"/>
                  </a:lnTo>
                  <a:lnTo>
                    <a:pt x="338" y="362"/>
                  </a:lnTo>
                  <a:lnTo>
                    <a:pt x="322" y="374"/>
                  </a:lnTo>
                  <a:lnTo>
                    <a:pt x="306" y="384"/>
                  </a:lnTo>
                  <a:lnTo>
                    <a:pt x="288" y="394"/>
                  </a:lnTo>
                  <a:lnTo>
                    <a:pt x="268" y="400"/>
                  </a:lnTo>
                  <a:lnTo>
                    <a:pt x="250" y="406"/>
                  </a:lnTo>
                  <a:lnTo>
                    <a:pt x="228" y="410"/>
                  </a:lnTo>
                  <a:lnTo>
                    <a:pt x="208" y="410"/>
                  </a:lnTo>
                  <a:lnTo>
                    <a:pt x="208" y="410"/>
                  </a:lnTo>
                  <a:lnTo>
                    <a:pt x="186" y="410"/>
                  </a:lnTo>
                  <a:lnTo>
                    <a:pt x="166" y="406"/>
                  </a:lnTo>
                  <a:lnTo>
                    <a:pt x="146" y="402"/>
                  </a:lnTo>
                  <a:lnTo>
                    <a:pt x="128" y="396"/>
                  </a:lnTo>
                  <a:lnTo>
                    <a:pt x="110" y="386"/>
                  </a:lnTo>
                  <a:lnTo>
                    <a:pt x="92" y="376"/>
                  </a:lnTo>
                  <a:lnTo>
                    <a:pt x="76" y="364"/>
                  </a:lnTo>
                  <a:lnTo>
                    <a:pt x="62" y="352"/>
                  </a:lnTo>
                  <a:lnTo>
                    <a:pt x="48" y="338"/>
                  </a:lnTo>
                  <a:lnTo>
                    <a:pt x="36" y="322"/>
                  </a:lnTo>
                  <a:lnTo>
                    <a:pt x="24" y="306"/>
                  </a:lnTo>
                  <a:lnTo>
                    <a:pt x="16" y="288"/>
                  </a:lnTo>
                  <a:lnTo>
                    <a:pt x="8" y="268"/>
                  </a:lnTo>
                  <a:lnTo>
                    <a:pt x="4" y="250"/>
                  </a:lnTo>
                  <a:lnTo>
                    <a:pt x="0" y="230"/>
                  </a:lnTo>
                  <a:lnTo>
                    <a:pt x="0" y="208"/>
                  </a:lnTo>
                  <a:lnTo>
                    <a:pt x="0" y="208"/>
                  </a:lnTo>
                  <a:lnTo>
                    <a:pt x="0" y="188"/>
                  </a:lnTo>
                  <a:lnTo>
                    <a:pt x="4" y="166"/>
                  </a:lnTo>
                  <a:lnTo>
                    <a:pt x="8" y="146"/>
                  </a:lnTo>
                  <a:lnTo>
                    <a:pt x="14" y="128"/>
                  </a:lnTo>
                  <a:lnTo>
                    <a:pt x="24" y="110"/>
                  </a:lnTo>
                  <a:lnTo>
                    <a:pt x="34" y="92"/>
                  </a:lnTo>
                  <a:lnTo>
                    <a:pt x="44" y="76"/>
                  </a:lnTo>
                  <a:lnTo>
                    <a:pt x="58" y="62"/>
                  </a:lnTo>
                  <a:lnTo>
                    <a:pt x="72" y="48"/>
                  </a:lnTo>
                  <a:lnTo>
                    <a:pt x="88" y="36"/>
                  </a:lnTo>
                  <a:lnTo>
                    <a:pt x="106" y="26"/>
                  </a:lnTo>
                  <a:lnTo>
                    <a:pt x="124" y="16"/>
                  </a:lnTo>
                  <a:lnTo>
                    <a:pt x="142" y="10"/>
                  </a:lnTo>
                  <a:lnTo>
                    <a:pt x="162" y="4"/>
                  </a:lnTo>
                  <a:lnTo>
                    <a:pt x="184" y="2"/>
                  </a:lnTo>
                  <a:lnTo>
                    <a:pt x="204" y="0"/>
                  </a:lnTo>
                  <a:lnTo>
                    <a:pt x="20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45 Light"/>
                <a:ea typeface="+mn-ea"/>
                <a:cs typeface="+mn-cs"/>
              </a:endParaRPr>
            </a:p>
          </p:txBody>
        </p:sp>
      </p:grpSp>
      <p:sp>
        <p:nvSpPr>
          <p:cNvPr id="48" name="Titolo 1">
            <a:extLst>
              <a:ext uri="{FF2B5EF4-FFF2-40B4-BE49-F238E27FC236}">
                <a16:creationId xmlns:a16="http://schemas.microsoft.com/office/drawing/2014/main" id="{37A5F603-AFF6-4501-B246-0B0CD99073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9890" y="698679"/>
            <a:ext cx="9316529" cy="394980"/>
          </a:xfrm>
        </p:spPr>
        <p:txBody>
          <a:bodyPr vert="horz"/>
          <a:lstStyle/>
          <a:p>
            <a:r>
              <a:rPr lang="it-IT" dirty="0">
                <a:latin typeface="+mj-lt"/>
                <a:cs typeface="+mj-cs"/>
              </a:rPr>
              <a:t>Lo </a:t>
            </a:r>
            <a:r>
              <a:rPr lang="it-IT" sz="2800" dirty="0">
                <a:solidFill>
                  <a:prstClr val="black"/>
                </a:solidFill>
                <a:latin typeface="+mj-lt"/>
              </a:rPr>
              <a:t>sviluppo</a:t>
            </a:r>
            <a:r>
              <a:rPr lang="it-IT" dirty="0">
                <a:latin typeface="+mj-lt"/>
              </a:rPr>
              <a:t> delle rinnovabili in Italia</a:t>
            </a:r>
            <a:endParaRPr lang="it-IT" dirty="0">
              <a:latin typeface="+mj-lt"/>
              <a:cs typeface="+mj-cs"/>
            </a:endParaRPr>
          </a:p>
        </p:txBody>
      </p:sp>
      <p:sp>
        <p:nvSpPr>
          <p:cNvPr id="51" name="Titolo 1">
            <a:extLst>
              <a:ext uri="{FF2B5EF4-FFF2-40B4-BE49-F238E27FC236}">
                <a16:creationId xmlns:a16="http://schemas.microsoft.com/office/drawing/2014/main" id="{DB556665-64E6-4FD2-9587-A376BF682B8C}"/>
              </a:ext>
            </a:extLst>
          </p:cNvPr>
          <p:cNvSpPr txBox="1">
            <a:spLocks/>
          </p:cNvSpPr>
          <p:nvPr/>
        </p:nvSpPr>
        <p:spPr>
          <a:xfrm>
            <a:off x="763958" y="1125330"/>
            <a:ext cx="9558611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1057222" algn="l"/>
              </a:tabLst>
              <a:defRPr/>
            </a:pPr>
            <a:r>
              <a:rPr lang="it-IT" sz="1800" b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sto ed obiettivi </a:t>
            </a: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46" name="Rettangolo 45">
            <a:extLst>
              <a:ext uri="{FF2B5EF4-FFF2-40B4-BE49-F238E27FC236}">
                <a16:creationId xmlns:a16="http://schemas.microsoft.com/office/drawing/2014/main" id="{C2800B04-9BC3-DC79-8DF7-6C1A37F464D3}"/>
              </a:ext>
            </a:extLst>
          </p:cNvPr>
          <p:cNvSpPr/>
          <p:nvPr/>
        </p:nvSpPr>
        <p:spPr>
          <a:xfrm>
            <a:off x="161592" y="6390242"/>
            <a:ext cx="11880000" cy="354456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675B7427-D071-F854-ABAD-DB36DCCEE248}"/>
              </a:ext>
            </a:extLst>
          </p:cNvPr>
          <p:cNvSpPr txBox="1"/>
          <p:nvPr/>
        </p:nvSpPr>
        <p:spPr>
          <a:xfrm>
            <a:off x="239429" y="6434341"/>
            <a:ext cx="11713143" cy="26161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it-IT" sz="1700" b="1" dirty="0" err="1"/>
              <a:t>Agrivoltaico</a:t>
            </a:r>
            <a:r>
              <a:rPr lang="it-IT" sz="1700" b="1" dirty="0"/>
              <a:t>: una delle forme di sviluppo rinnovabile per raggiungere gli obiettivi di decarbonizzazione del Paese</a:t>
            </a:r>
          </a:p>
        </p:txBody>
      </p:sp>
      <p:sp>
        <p:nvSpPr>
          <p:cNvPr id="3" name="Rectangle 151">
            <a:extLst>
              <a:ext uri="{FF2B5EF4-FFF2-40B4-BE49-F238E27FC236}">
                <a16:creationId xmlns:a16="http://schemas.microsoft.com/office/drawing/2014/main" id="{1C4E18CB-42A3-43CD-41A4-A62A73A47F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592" y="797847"/>
            <a:ext cx="358172" cy="370467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46638" rIns="36000" bIns="46638" rtlCol="0" anchor="ctr">
            <a:no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bg1"/>
                </a:solidFill>
                <a:latin typeface="+mn-lt"/>
              </a:rPr>
              <a:t>1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C310A082-7F96-DBDD-E17C-CC7EDDF0A9EE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72300" y="4472881"/>
            <a:ext cx="1613839" cy="746777"/>
          </a:xfrm>
          <a:prstGeom prst="roundRect">
            <a:avLst>
              <a:gd name="adj" fmla="val 0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grpSp>
        <p:nvGrpSpPr>
          <p:cNvPr id="23" name="Group 66">
            <a:extLst>
              <a:ext uri="{FF2B5EF4-FFF2-40B4-BE49-F238E27FC236}">
                <a16:creationId xmlns:a16="http://schemas.microsoft.com/office/drawing/2014/main" id="{D4C8D6AD-6824-1A7B-5A3E-1C2F4CD8CB5E}"/>
              </a:ext>
            </a:extLst>
          </p:cNvPr>
          <p:cNvGrpSpPr/>
          <p:nvPr/>
        </p:nvGrpSpPr>
        <p:grpSpPr bwMode="gray">
          <a:xfrm>
            <a:off x="3560018" y="4136615"/>
            <a:ext cx="377238" cy="459417"/>
            <a:chOff x="11056636" y="1438275"/>
            <a:chExt cx="3488039" cy="4041774"/>
          </a:xfrm>
          <a:solidFill>
            <a:srgbClr val="00B853"/>
          </a:solidFill>
        </p:grpSpPr>
        <p:sp>
          <p:nvSpPr>
            <p:cNvPr id="24" name="Freeform 223">
              <a:extLst>
                <a:ext uri="{FF2B5EF4-FFF2-40B4-BE49-F238E27FC236}">
                  <a16:creationId xmlns:a16="http://schemas.microsoft.com/office/drawing/2014/main" id="{5EF91386-E5B4-732C-61A0-DDEEC219C6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06202" y="1438275"/>
              <a:ext cx="1009645" cy="1727194"/>
            </a:xfrm>
            <a:custGeom>
              <a:avLst/>
              <a:gdLst>
                <a:gd name="T0" fmla="*/ 636 w 636"/>
                <a:gd name="T1" fmla="*/ 948 h 1088"/>
                <a:gd name="T2" fmla="*/ 588 w 636"/>
                <a:gd name="T3" fmla="*/ 942 h 1088"/>
                <a:gd name="T4" fmla="*/ 542 w 636"/>
                <a:gd name="T5" fmla="*/ 942 h 1088"/>
                <a:gd name="T6" fmla="*/ 498 w 636"/>
                <a:gd name="T7" fmla="*/ 950 h 1088"/>
                <a:gd name="T8" fmla="*/ 454 w 636"/>
                <a:gd name="T9" fmla="*/ 966 h 1088"/>
                <a:gd name="T10" fmla="*/ 434 w 636"/>
                <a:gd name="T11" fmla="*/ 976 h 1088"/>
                <a:gd name="T12" fmla="*/ 396 w 636"/>
                <a:gd name="T13" fmla="*/ 1000 h 1088"/>
                <a:gd name="T14" fmla="*/ 362 w 636"/>
                <a:gd name="T15" fmla="*/ 1032 h 1088"/>
                <a:gd name="T16" fmla="*/ 332 w 636"/>
                <a:gd name="T17" fmla="*/ 1068 h 1088"/>
                <a:gd name="T18" fmla="*/ 318 w 636"/>
                <a:gd name="T19" fmla="*/ 1088 h 1088"/>
                <a:gd name="T20" fmla="*/ 302 w 636"/>
                <a:gd name="T21" fmla="*/ 1060 h 1088"/>
                <a:gd name="T22" fmla="*/ 248 w 636"/>
                <a:gd name="T23" fmla="*/ 952 h 1088"/>
                <a:gd name="T24" fmla="*/ 202 w 636"/>
                <a:gd name="T25" fmla="*/ 842 h 1088"/>
                <a:gd name="T26" fmla="*/ 158 w 636"/>
                <a:gd name="T27" fmla="*/ 728 h 1088"/>
                <a:gd name="T28" fmla="*/ 122 w 636"/>
                <a:gd name="T29" fmla="*/ 614 h 1088"/>
                <a:gd name="T30" fmla="*/ 68 w 636"/>
                <a:gd name="T31" fmla="*/ 432 h 1088"/>
                <a:gd name="T32" fmla="*/ 22 w 636"/>
                <a:gd name="T33" fmla="*/ 250 h 1088"/>
                <a:gd name="T34" fmla="*/ 14 w 636"/>
                <a:gd name="T35" fmla="*/ 206 h 1088"/>
                <a:gd name="T36" fmla="*/ 0 w 636"/>
                <a:gd name="T37" fmla="*/ 74 h 1088"/>
                <a:gd name="T38" fmla="*/ 0 w 636"/>
                <a:gd name="T39" fmla="*/ 62 h 1088"/>
                <a:gd name="T40" fmla="*/ 6 w 636"/>
                <a:gd name="T41" fmla="*/ 26 h 1088"/>
                <a:gd name="T42" fmla="*/ 10 w 636"/>
                <a:gd name="T43" fmla="*/ 18 h 1088"/>
                <a:gd name="T44" fmla="*/ 18 w 636"/>
                <a:gd name="T45" fmla="*/ 6 h 1088"/>
                <a:gd name="T46" fmla="*/ 30 w 636"/>
                <a:gd name="T47" fmla="*/ 0 h 1088"/>
                <a:gd name="T48" fmla="*/ 44 w 636"/>
                <a:gd name="T49" fmla="*/ 0 h 1088"/>
                <a:gd name="T50" fmla="*/ 52 w 636"/>
                <a:gd name="T51" fmla="*/ 4 h 1088"/>
                <a:gd name="T52" fmla="*/ 96 w 636"/>
                <a:gd name="T53" fmla="*/ 34 h 1088"/>
                <a:gd name="T54" fmla="*/ 134 w 636"/>
                <a:gd name="T55" fmla="*/ 70 h 1088"/>
                <a:gd name="T56" fmla="*/ 170 w 636"/>
                <a:gd name="T57" fmla="*/ 116 h 1088"/>
                <a:gd name="T58" fmla="*/ 244 w 636"/>
                <a:gd name="T59" fmla="*/ 210 h 1088"/>
                <a:gd name="T60" fmla="*/ 278 w 636"/>
                <a:gd name="T61" fmla="*/ 260 h 1088"/>
                <a:gd name="T62" fmla="*/ 366 w 636"/>
                <a:gd name="T63" fmla="*/ 400 h 1088"/>
                <a:gd name="T64" fmla="*/ 450 w 636"/>
                <a:gd name="T65" fmla="*/ 544 h 1088"/>
                <a:gd name="T66" fmla="*/ 526 w 636"/>
                <a:gd name="T67" fmla="*/ 690 h 1088"/>
                <a:gd name="T68" fmla="*/ 596 w 636"/>
                <a:gd name="T69" fmla="*/ 842 h 1088"/>
                <a:gd name="T70" fmla="*/ 616 w 636"/>
                <a:gd name="T71" fmla="*/ 892 h 1088"/>
                <a:gd name="T72" fmla="*/ 636 w 636"/>
                <a:gd name="T73" fmla="*/ 948 h 10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36" h="1088">
                  <a:moveTo>
                    <a:pt x="636" y="948"/>
                  </a:moveTo>
                  <a:lnTo>
                    <a:pt x="636" y="948"/>
                  </a:lnTo>
                  <a:lnTo>
                    <a:pt x="612" y="944"/>
                  </a:lnTo>
                  <a:lnTo>
                    <a:pt x="588" y="942"/>
                  </a:lnTo>
                  <a:lnTo>
                    <a:pt x="564" y="942"/>
                  </a:lnTo>
                  <a:lnTo>
                    <a:pt x="542" y="942"/>
                  </a:lnTo>
                  <a:lnTo>
                    <a:pt x="520" y="946"/>
                  </a:lnTo>
                  <a:lnTo>
                    <a:pt x="498" y="950"/>
                  </a:lnTo>
                  <a:lnTo>
                    <a:pt x="476" y="958"/>
                  </a:lnTo>
                  <a:lnTo>
                    <a:pt x="454" y="966"/>
                  </a:lnTo>
                  <a:lnTo>
                    <a:pt x="454" y="966"/>
                  </a:lnTo>
                  <a:lnTo>
                    <a:pt x="434" y="976"/>
                  </a:lnTo>
                  <a:lnTo>
                    <a:pt x="414" y="988"/>
                  </a:lnTo>
                  <a:lnTo>
                    <a:pt x="396" y="1000"/>
                  </a:lnTo>
                  <a:lnTo>
                    <a:pt x="378" y="1016"/>
                  </a:lnTo>
                  <a:lnTo>
                    <a:pt x="362" y="1032"/>
                  </a:lnTo>
                  <a:lnTo>
                    <a:pt x="346" y="1048"/>
                  </a:lnTo>
                  <a:lnTo>
                    <a:pt x="332" y="1068"/>
                  </a:lnTo>
                  <a:lnTo>
                    <a:pt x="318" y="1088"/>
                  </a:lnTo>
                  <a:lnTo>
                    <a:pt x="318" y="1088"/>
                  </a:lnTo>
                  <a:lnTo>
                    <a:pt x="302" y="1060"/>
                  </a:lnTo>
                  <a:lnTo>
                    <a:pt x="302" y="1060"/>
                  </a:lnTo>
                  <a:lnTo>
                    <a:pt x="274" y="1006"/>
                  </a:lnTo>
                  <a:lnTo>
                    <a:pt x="248" y="952"/>
                  </a:lnTo>
                  <a:lnTo>
                    <a:pt x="224" y="896"/>
                  </a:lnTo>
                  <a:lnTo>
                    <a:pt x="202" y="842"/>
                  </a:lnTo>
                  <a:lnTo>
                    <a:pt x="180" y="784"/>
                  </a:lnTo>
                  <a:lnTo>
                    <a:pt x="158" y="728"/>
                  </a:lnTo>
                  <a:lnTo>
                    <a:pt x="122" y="614"/>
                  </a:lnTo>
                  <a:lnTo>
                    <a:pt x="122" y="614"/>
                  </a:lnTo>
                  <a:lnTo>
                    <a:pt x="94" y="522"/>
                  </a:lnTo>
                  <a:lnTo>
                    <a:pt x="68" y="432"/>
                  </a:lnTo>
                  <a:lnTo>
                    <a:pt x="44" y="340"/>
                  </a:lnTo>
                  <a:lnTo>
                    <a:pt x="22" y="250"/>
                  </a:lnTo>
                  <a:lnTo>
                    <a:pt x="22" y="250"/>
                  </a:lnTo>
                  <a:lnTo>
                    <a:pt x="14" y="206"/>
                  </a:lnTo>
                  <a:lnTo>
                    <a:pt x="8" y="162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50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10" y="18"/>
                  </a:lnTo>
                  <a:lnTo>
                    <a:pt x="14" y="10"/>
                  </a:lnTo>
                  <a:lnTo>
                    <a:pt x="18" y="6"/>
                  </a:lnTo>
                  <a:lnTo>
                    <a:pt x="24" y="2"/>
                  </a:lnTo>
                  <a:lnTo>
                    <a:pt x="30" y="0"/>
                  </a:lnTo>
                  <a:lnTo>
                    <a:pt x="38" y="0"/>
                  </a:lnTo>
                  <a:lnTo>
                    <a:pt x="44" y="0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74" y="20"/>
                  </a:lnTo>
                  <a:lnTo>
                    <a:pt x="96" y="34"/>
                  </a:lnTo>
                  <a:lnTo>
                    <a:pt x="116" y="52"/>
                  </a:lnTo>
                  <a:lnTo>
                    <a:pt x="134" y="70"/>
                  </a:lnTo>
                  <a:lnTo>
                    <a:pt x="134" y="70"/>
                  </a:lnTo>
                  <a:lnTo>
                    <a:pt x="170" y="116"/>
                  </a:lnTo>
                  <a:lnTo>
                    <a:pt x="208" y="162"/>
                  </a:lnTo>
                  <a:lnTo>
                    <a:pt x="244" y="210"/>
                  </a:lnTo>
                  <a:lnTo>
                    <a:pt x="278" y="260"/>
                  </a:lnTo>
                  <a:lnTo>
                    <a:pt x="278" y="260"/>
                  </a:lnTo>
                  <a:lnTo>
                    <a:pt x="322" y="330"/>
                  </a:lnTo>
                  <a:lnTo>
                    <a:pt x="366" y="400"/>
                  </a:lnTo>
                  <a:lnTo>
                    <a:pt x="410" y="472"/>
                  </a:lnTo>
                  <a:lnTo>
                    <a:pt x="450" y="544"/>
                  </a:lnTo>
                  <a:lnTo>
                    <a:pt x="490" y="616"/>
                  </a:lnTo>
                  <a:lnTo>
                    <a:pt x="526" y="690"/>
                  </a:lnTo>
                  <a:lnTo>
                    <a:pt x="562" y="766"/>
                  </a:lnTo>
                  <a:lnTo>
                    <a:pt x="596" y="842"/>
                  </a:lnTo>
                  <a:lnTo>
                    <a:pt x="596" y="842"/>
                  </a:lnTo>
                  <a:lnTo>
                    <a:pt x="616" y="892"/>
                  </a:lnTo>
                  <a:lnTo>
                    <a:pt x="636" y="948"/>
                  </a:lnTo>
                  <a:lnTo>
                    <a:pt x="636" y="9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45 Light"/>
                <a:ea typeface="+mn-ea"/>
                <a:cs typeface="+mn-cs"/>
              </a:endParaRPr>
            </a:p>
          </p:txBody>
        </p:sp>
        <p:sp>
          <p:nvSpPr>
            <p:cNvPr id="25" name="Freeform 224">
              <a:extLst>
                <a:ext uri="{FF2B5EF4-FFF2-40B4-BE49-F238E27FC236}">
                  <a16:creationId xmlns:a16="http://schemas.microsoft.com/office/drawing/2014/main" id="{E1EB0A07-A8FE-5F6A-6477-921A27FA90D9}"/>
                </a:ext>
              </a:extLst>
            </p:cNvPr>
            <p:cNvSpPr>
              <a:spLocks/>
            </p:cNvSpPr>
            <p:nvPr/>
          </p:nvSpPr>
          <p:spPr bwMode="gray">
            <a:xfrm>
              <a:off x="11056636" y="3494971"/>
              <a:ext cx="1282686" cy="1590660"/>
            </a:xfrm>
            <a:custGeom>
              <a:avLst/>
              <a:gdLst>
                <a:gd name="T0" fmla="*/ 522 w 808"/>
                <a:gd name="T1" fmla="*/ 0 h 1002"/>
                <a:gd name="T2" fmla="*/ 544 w 808"/>
                <a:gd name="T3" fmla="*/ 46 h 1002"/>
                <a:gd name="T4" fmla="*/ 570 w 808"/>
                <a:gd name="T5" fmla="*/ 84 h 1002"/>
                <a:gd name="T6" fmla="*/ 600 w 808"/>
                <a:gd name="T7" fmla="*/ 118 h 1002"/>
                <a:gd name="T8" fmla="*/ 634 w 808"/>
                <a:gd name="T9" fmla="*/ 146 h 1002"/>
                <a:gd name="T10" fmla="*/ 672 w 808"/>
                <a:gd name="T11" fmla="*/ 168 h 1002"/>
                <a:gd name="T12" fmla="*/ 712 w 808"/>
                <a:gd name="T13" fmla="*/ 184 h 1002"/>
                <a:gd name="T14" fmla="*/ 758 w 808"/>
                <a:gd name="T15" fmla="*/ 196 h 1002"/>
                <a:gd name="T16" fmla="*/ 808 w 808"/>
                <a:gd name="T17" fmla="*/ 202 h 1002"/>
                <a:gd name="T18" fmla="*/ 796 w 808"/>
                <a:gd name="T19" fmla="*/ 220 h 1002"/>
                <a:gd name="T20" fmla="*/ 768 w 808"/>
                <a:gd name="T21" fmla="*/ 264 h 1002"/>
                <a:gd name="T22" fmla="*/ 710 w 808"/>
                <a:gd name="T23" fmla="*/ 348 h 1002"/>
                <a:gd name="T24" fmla="*/ 614 w 808"/>
                <a:gd name="T25" fmla="*/ 470 h 1002"/>
                <a:gd name="T26" fmla="*/ 548 w 808"/>
                <a:gd name="T27" fmla="*/ 548 h 1002"/>
                <a:gd name="T28" fmla="*/ 384 w 808"/>
                <a:gd name="T29" fmla="*/ 728 h 1002"/>
                <a:gd name="T30" fmla="*/ 298 w 808"/>
                <a:gd name="T31" fmla="*/ 814 h 1002"/>
                <a:gd name="T32" fmla="*/ 208 w 808"/>
                <a:gd name="T33" fmla="*/ 896 h 1002"/>
                <a:gd name="T34" fmla="*/ 178 w 808"/>
                <a:gd name="T35" fmla="*/ 918 h 1002"/>
                <a:gd name="T36" fmla="*/ 84 w 808"/>
                <a:gd name="T37" fmla="*/ 984 h 1002"/>
                <a:gd name="T38" fmla="*/ 74 w 808"/>
                <a:gd name="T39" fmla="*/ 990 h 1002"/>
                <a:gd name="T40" fmla="*/ 42 w 808"/>
                <a:gd name="T41" fmla="*/ 1000 h 1002"/>
                <a:gd name="T42" fmla="*/ 34 w 808"/>
                <a:gd name="T43" fmla="*/ 1002 h 1002"/>
                <a:gd name="T44" fmla="*/ 20 w 808"/>
                <a:gd name="T45" fmla="*/ 1000 h 1002"/>
                <a:gd name="T46" fmla="*/ 8 w 808"/>
                <a:gd name="T47" fmla="*/ 992 h 1002"/>
                <a:gd name="T48" fmla="*/ 2 w 808"/>
                <a:gd name="T49" fmla="*/ 980 h 1002"/>
                <a:gd name="T50" fmla="*/ 0 w 808"/>
                <a:gd name="T51" fmla="*/ 972 h 1002"/>
                <a:gd name="T52" fmla="*/ 0 w 808"/>
                <a:gd name="T53" fmla="*/ 940 h 1002"/>
                <a:gd name="T54" fmla="*/ 14 w 808"/>
                <a:gd name="T55" fmla="*/ 880 h 1002"/>
                <a:gd name="T56" fmla="*/ 24 w 808"/>
                <a:gd name="T57" fmla="*/ 850 h 1002"/>
                <a:gd name="T58" fmla="*/ 64 w 808"/>
                <a:gd name="T59" fmla="*/ 746 h 1002"/>
                <a:gd name="T60" fmla="*/ 112 w 808"/>
                <a:gd name="T61" fmla="*/ 646 h 1002"/>
                <a:gd name="T62" fmla="*/ 216 w 808"/>
                <a:gd name="T63" fmla="*/ 450 h 1002"/>
                <a:gd name="T64" fmla="*/ 278 w 808"/>
                <a:gd name="T65" fmla="*/ 346 h 1002"/>
                <a:gd name="T66" fmla="*/ 374 w 808"/>
                <a:gd name="T67" fmla="*/ 196 h 1002"/>
                <a:gd name="T68" fmla="*/ 442 w 808"/>
                <a:gd name="T69" fmla="*/ 100 h 1002"/>
                <a:gd name="T70" fmla="*/ 478 w 808"/>
                <a:gd name="T71" fmla="*/ 52 h 1002"/>
                <a:gd name="T72" fmla="*/ 522 w 808"/>
                <a:gd name="T73" fmla="*/ 0 h 10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08" h="1002">
                  <a:moveTo>
                    <a:pt x="522" y="0"/>
                  </a:moveTo>
                  <a:lnTo>
                    <a:pt x="522" y="0"/>
                  </a:lnTo>
                  <a:lnTo>
                    <a:pt x="534" y="24"/>
                  </a:lnTo>
                  <a:lnTo>
                    <a:pt x="544" y="46"/>
                  </a:lnTo>
                  <a:lnTo>
                    <a:pt x="558" y="66"/>
                  </a:lnTo>
                  <a:lnTo>
                    <a:pt x="570" y="84"/>
                  </a:lnTo>
                  <a:lnTo>
                    <a:pt x="584" y="102"/>
                  </a:lnTo>
                  <a:lnTo>
                    <a:pt x="600" y="118"/>
                  </a:lnTo>
                  <a:lnTo>
                    <a:pt x="616" y="132"/>
                  </a:lnTo>
                  <a:lnTo>
                    <a:pt x="634" y="146"/>
                  </a:lnTo>
                  <a:lnTo>
                    <a:pt x="652" y="158"/>
                  </a:lnTo>
                  <a:lnTo>
                    <a:pt x="672" y="168"/>
                  </a:lnTo>
                  <a:lnTo>
                    <a:pt x="692" y="176"/>
                  </a:lnTo>
                  <a:lnTo>
                    <a:pt x="712" y="184"/>
                  </a:lnTo>
                  <a:lnTo>
                    <a:pt x="734" y="190"/>
                  </a:lnTo>
                  <a:lnTo>
                    <a:pt x="758" y="196"/>
                  </a:lnTo>
                  <a:lnTo>
                    <a:pt x="782" y="200"/>
                  </a:lnTo>
                  <a:lnTo>
                    <a:pt x="808" y="202"/>
                  </a:lnTo>
                  <a:lnTo>
                    <a:pt x="808" y="202"/>
                  </a:lnTo>
                  <a:lnTo>
                    <a:pt x="796" y="220"/>
                  </a:lnTo>
                  <a:lnTo>
                    <a:pt x="796" y="220"/>
                  </a:lnTo>
                  <a:lnTo>
                    <a:pt x="768" y="264"/>
                  </a:lnTo>
                  <a:lnTo>
                    <a:pt x="740" y="306"/>
                  </a:lnTo>
                  <a:lnTo>
                    <a:pt x="710" y="348"/>
                  </a:lnTo>
                  <a:lnTo>
                    <a:pt x="678" y="390"/>
                  </a:lnTo>
                  <a:lnTo>
                    <a:pt x="614" y="470"/>
                  </a:lnTo>
                  <a:lnTo>
                    <a:pt x="548" y="548"/>
                  </a:lnTo>
                  <a:lnTo>
                    <a:pt x="548" y="548"/>
                  </a:lnTo>
                  <a:lnTo>
                    <a:pt x="468" y="640"/>
                  </a:lnTo>
                  <a:lnTo>
                    <a:pt x="384" y="728"/>
                  </a:lnTo>
                  <a:lnTo>
                    <a:pt x="342" y="772"/>
                  </a:lnTo>
                  <a:lnTo>
                    <a:pt x="298" y="814"/>
                  </a:lnTo>
                  <a:lnTo>
                    <a:pt x="254" y="856"/>
                  </a:lnTo>
                  <a:lnTo>
                    <a:pt x="208" y="896"/>
                  </a:lnTo>
                  <a:lnTo>
                    <a:pt x="208" y="896"/>
                  </a:lnTo>
                  <a:lnTo>
                    <a:pt x="178" y="918"/>
                  </a:lnTo>
                  <a:lnTo>
                    <a:pt x="148" y="942"/>
                  </a:lnTo>
                  <a:lnTo>
                    <a:pt x="84" y="984"/>
                  </a:lnTo>
                  <a:lnTo>
                    <a:pt x="84" y="984"/>
                  </a:lnTo>
                  <a:lnTo>
                    <a:pt x="74" y="990"/>
                  </a:lnTo>
                  <a:lnTo>
                    <a:pt x="64" y="994"/>
                  </a:lnTo>
                  <a:lnTo>
                    <a:pt x="42" y="1000"/>
                  </a:lnTo>
                  <a:lnTo>
                    <a:pt x="42" y="1000"/>
                  </a:lnTo>
                  <a:lnTo>
                    <a:pt x="34" y="1002"/>
                  </a:lnTo>
                  <a:lnTo>
                    <a:pt x="26" y="1002"/>
                  </a:lnTo>
                  <a:lnTo>
                    <a:pt x="20" y="1000"/>
                  </a:lnTo>
                  <a:lnTo>
                    <a:pt x="14" y="998"/>
                  </a:lnTo>
                  <a:lnTo>
                    <a:pt x="8" y="992"/>
                  </a:lnTo>
                  <a:lnTo>
                    <a:pt x="6" y="986"/>
                  </a:lnTo>
                  <a:lnTo>
                    <a:pt x="2" y="980"/>
                  </a:lnTo>
                  <a:lnTo>
                    <a:pt x="0" y="972"/>
                  </a:lnTo>
                  <a:lnTo>
                    <a:pt x="0" y="972"/>
                  </a:lnTo>
                  <a:lnTo>
                    <a:pt x="0" y="956"/>
                  </a:lnTo>
                  <a:lnTo>
                    <a:pt x="0" y="940"/>
                  </a:lnTo>
                  <a:lnTo>
                    <a:pt x="6" y="910"/>
                  </a:lnTo>
                  <a:lnTo>
                    <a:pt x="14" y="880"/>
                  </a:lnTo>
                  <a:lnTo>
                    <a:pt x="24" y="850"/>
                  </a:lnTo>
                  <a:lnTo>
                    <a:pt x="24" y="850"/>
                  </a:lnTo>
                  <a:lnTo>
                    <a:pt x="42" y="798"/>
                  </a:lnTo>
                  <a:lnTo>
                    <a:pt x="64" y="746"/>
                  </a:lnTo>
                  <a:lnTo>
                    <a:pt x="88" y="696"/>
                  </a:lnTo>
                  <a:lnTo>
                    <a:pt x="112" y="646"/>
                  </a:lnTo>
                  <a:lnTo>
                    <a:pt x="162" y="546"/>
                  </a:lnTo>
                  <a:lnTo>
                    <a:pt x="216" y="450"/>
                  </a:lnTo>
                  <a:lnTo>
                    <a:pt x="216" y="450"/>
                  </a:lnTo>
                  <a:lnTo>
                    <a:pt x="278" y="346"/>
                  </a:lnTo>
                  <a:lnTo>
                    <a:pt x="340" y="246"/>
                  </a:lnTo>
                  <a:lnTo>
                    <a:pt x="374" y="196"/>
                  </a:lnTo>
                  <a:lnTo>
                    <a:pt x="408" y="148"/>
                  </a:lnTo>
                  <a:lnTo>
                    <a:pt x="442" y="100"/>
                  </a:lnTo>
                  <a:lnTo>
                    <a:pt x="478" y="52"/>
                  </a:lnTo>
                  <a:lnTo>
                    <a:pt x="478" y="52"/>
                  </a:lnTo>
                  <a:lnTo>
                    <a:pt x="522" y="0"/>
                  </a:lnTo>
                  <a:lnTo>
                    <a:pt x="52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45 Light"/>
                <a:ea typeface="+mn-ea"/>
                <a:cs typeface="+mn-cs"/>
              </a:endParaRPr>
            </a:p>
          </p:txBody>
        </p:sp>
        <p:sp>
          <p:nvSpPr>
            <p:cNvPr id="26" name="Freeform 225">
              <a:extLst>
                <a:ext uri="{FF2B5EF4-FFF2-40B4-BE49-F238E27FC236}">
                  <a16:creationId xmlns:a16="http://schemas.microsoft.com/office/drawing/2014/main" id="{DB799EAA-BE8B-D7BD-A68A-BF85670B4B5B}"/>
                </a:ext>
              </a:extLst>
            </p:cNvPr>
            <p:cNvSpPr>
              <a:spLocks/>
            </p:cNvSpPr>
            <p:nvPr/>
          </p:nvSpPr>
          <p:spPr bwMode="gray">
            <a:xfrm>
              <a:off x="12760334" y="3175008"/>
              <a:ext cx="1784341" cy="609598"/>
            </a:xfrm>
            <a:custGeom>
              <a:avLst/>
              <a:gdLst>
                <a:gd name="T0" fmla="*/ 42 w 1124"/>
                <a:gd name="T1" fmla="*/ 0 h 384"/>
                <a:gd name="T2" fmla="*/ 118 w 1124"/>
                <a:gd name="T3" fmla="*/ 0 h 384"/>
                <a:gd name="T4" fmla="*/ 178 w 1124"/>
                <a:gd name="T5" fmla="*/ 6 h 384"/>
                <a:gd name="T6" fmla="*/ 298 w 1124"/>
                <a:gd name="T7" fmla="*/ 20 h 384"/>
                <a:gd name="T8" fmla="*/ 476 w 1124"/>
                <a:gd name="T9" fmla="*/ 50 h 384"/>
                <a:gd name="T10" fmla="*/ 594 w 1124"/>
                <a:gd name="T11" fmla="*/ 74 h 384"/>
                <a:gd name="T12" fmla="*/ 794 w 1124"/>
                <a:gd name="T13" fmla="*/ 124 h 384"/>
                <a:gd name="T14" fmla="*/ 894 w 1124"/>
                <a:gd name="T15" fmla="*/ 154 h 384"/>
                <a:gd name="T16" fmla="*/ 992 w 1124"/>
                <a:gd name="T17" fmla="*/ 190 h 384"/>
                <a:gd name="T18" fmla="*/ 1028 w 1124"/>
                <a:gd name="T19" fmla="*/ 206 h 384"/>
                <a:gd name="T20" fmla="*/ 1064 w 1124"/>
                <a:gd name="T21" fmla="*/ 224 h 384"/>
                <a:gd name="T22" fmla="*/ 1102 w 1124"/>
                <a:gd name="T23" fmla="*/ 250 h 384"/>
                <a:gd name="T24" fmla="*/ 1112 w 1124"/>
                <a:gd name="T25" fmla="*/ 260 h 384"/>
                <a:gd name="T26" fmla="*/ 1124 w 1124"/>
                <a:gd name="T27" fmla="*/ 278 h 384"/>
                <a:gd name="T28" fmla="*/ 1122 w 1124"/>
                <a:gd name="T29" fmla="*/ 298 h 384"/>
                <a:gd name="T30" fmla="*/ 1106 w 1124"/>
                <a:gd name="T31" fmla="*/ 312 h 384"/>
                <a:gd name="T32" fmla="*/ 1094 w 1124"/>
                <a:gd name="T33" fmla="*/ 318 h 384"/>
                <a:gd name="T34" fmla="*/ 1030 w 1124"/>
                <a:gd name="T35" fmla="*/ 340 h 384"/>
                <a:gd name="T36" fmla="*/ 962 w 1124"/>
                <a:gd name="T37" fmla="*/ 356 h 384"/>
                <a:gd name="T38" fmla="*/ 894 w 1124"/>
                <a:gd name="T39" fmla="*/ 366 h 384"/>
                <a:gd name="T40" fmla="*/ 758 w 1124"/>
                <a:gd name="T41" fmla="*/ 378 h 384"/>
                <a:gd name="T42" fmla="*/ 620 w 1124"/>
                <a:gd name="T43" fmla="*/ 384 h 384"/>
                <a:gd name="T44" fmla="*/ 484 w 1124"/>
                <a:gd name="T45" fmla="*/ 384 h 384"/>
                <a:gd name="T46" fmla="*/ 414 w 1124"/>
                <a:gd name="T47" fmla="*/ 382 h 384"/>
                <a:gd name="T48" fmla="*/ 246 w 1124"/>
                <a:gd name="T49" fmla="*/ 370 h 384"/>
                <a:gd name="T50" fmla="*/ 78 w 1124"/>
                <a:gd name="T51" fmla="*/ 356 h 384"/>
                <a:gd name="T52" fmla="*/ 0 w 1124"/>
                <a:gd name="T53" fmla="*/ 344 h 384"/>
                <a:gd name="T54" fmla="*/ 14 w 1124"/>
                <a:gd name="T55" fmla="*/ 324 h 384"/>
                <a:gd name="T56" fmla="*/ 40 w 1124"/>
                <a:gd name="T57" fmla="*/ 282 h 384"/>
                <a:gd name="T58" fmla="*/ 60 w 1124"/>
                <a:gd name="T59" fmla="*/ 242 h 384"/>
                <a:gd name="T60" fmla="*/ 72 w 1124"/>
                <a:gd name="T61" fmla="*/ 198 h 384"/>
                <a:gd name="T62" fmla="*/ 78 w 1124"/>
                <a:gd name="T63" fmla="*/ 156 h 384"/>
                <a:gd name="T64" fmla="*/ 76 w 1124"/>
                <a:gd name="T65" fmla="*/ 112 h 384"/>
                <a:gd name="T66" fmla="*/ 68 w 1124"/>
                <a:gd name="T67" fmla="*/ 68 h 384"/>
                <a:gd name="T68" fmla="*/ 54 w 1124"/>
                <a:gd name="T69" fmla="*/ 22 h 384"/>
                <a:gd name="T70" fmla="*/ 42 w 1124"/>
                <a:gd name="T71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24" h="384">
                  <a:moveTo>
                    <a:pt x="42" y="0"/>
                  </a:moveTo>
                  <a:lnTo>
                    <a:pt x="42" y="0"/>
                  </a:lnTo>
                  <a:lnTo>
                    <a:pt x="82" y="0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78" y="6"/>
                  </a:lnTo>
                  <a:lnTo>
                    <a:pt x="238" y="12"/>
                  </a:lnTo>
                  <a:lnTo>
                    <a:pt x="298" y="20"/>
                  </a:lnTo>
                  <a:lnTo>
                    <a:pt x="358" y="28"/>
                  </a:lnTo>
                  <a:lnTo>
                    <a:pt x="476" y="50"/>
                  </a:lnTo>
                  <a:lnTo>
                    <a:pt x="594" y="74"/>
                  </a:lnTo>
                  <a:lnTo>
                    <a:pt x="594" y="74"/>
                  </a:lnTo>
                  <a:lnTo>
                    <a:pt x="694" y="98"/>
                  </a:lnTo>
                  <a:lnTo>
                    <a:pt x="794" y="124"/>
                  </a:lnTo>
                  <a:lnTo>
                    <a:pt x="844" y="138"/>
                  </a:lnTo>
                  <a:lnTo>
                    <a:pt x="894" y="154"/>
                  </a:lnTo>
                  <a:lnTo>
                    <a:pt x="942" y="170"/>
                  </a:lnTo>
                  <a:lnTo>
                    <a:pt x="992" y="190"/>
                  </a:lnTo>
                  <a:lnTo>
                    <a:pt x="992" y="190"/>
                  </a:lnTo>
                  <a:lnTo>
                    <a:pt x="1028" y="206"/>
                  </a:lnTo>
                  <a:lnTo>
                    <a:pt x="1064" y="224"/>
                  </a:lnTo>
                  <a:lnTo>
                    <a:pt x="1064" y="224"/>
                  </a:lnTo>
                  <a:lnTo>
                    <a:pt x="1084" y="236"/>
                  </a:lnTo>
                  <a:lnTo>
                    <a:pt x="1102" y="250"/>
                  </a:lnTo>
                  <a:lnTo>
                    <a:pt x="1102" y="250"/>
                  </a:lnTo>
                  <a:lnTo>
                    <a:pt x="1112" y="260"/>
                  </a:lnTo>
                  <a:lnTo>
                    <a:pt x="1120" y="270"/>
                  </a:lnTo>
                  <a:lnTo>
                    <a:pt x="1124" y="278"/>
                  </a:lnTo>
                  <a:lnTo>
                    <a:pt x="1124" y="288"/>
                  </a:lnTo>
                  <a:lnTo>
                    <a:pt x="1122" y="298"/>
                  </a:lnTo>
                  <a:lnTo>
                    <a:pt x="1116" y="306"/>
                  </a:lnTo>
                  <a:lnTo>
                    <a:pt x="1106" y="312"/>
                  </a:lnTo>
                  <a:lnTo>
                    <a:pt x="1094" y="318"/>
                  </a:lnTo>
                  <a:lnTo>
                    <a:pt x="1094" y="318"/>
                  </a:lnTo>
                  <a:lnTo>
                    <a:pt x="1062" y="330"/>
                  </a:lnTo>
                  <a:lnTo>
                    <a:pt x="1030" y="340"/>
                  </a:lnTo>
                  <a:lnTo>
                    <a:pt x="996" y="350"/>
                  </a:lnTo>
                  <a:lnTo>
                    <a:pt x="962" y="356"/>
                  </a:lnTo>
                  <a:lnTo>
                    <a:pt x="962" y="356"/>
                  </a:lnTo>
                  <a:lnTo>
                    <a:pt x="894" y="366"/>
                  </a:lnTo>
                  <a:lnTo>
                    <a:pt x="826" y="374"/>
                  </a:lnTo>
                  <a:lnTo>
                    <a:pt x="758" y="378"/>
                  </a:lnTo>
                  <a:lnTo>
                    <a:pt x="690" y="382"/>
                  </a:lnTo>
                  <a:lnTo>
                    <a:pt x="620" y="384"/>
                  </a:lnTo>
                  <a:lnTo>
                    <a:pt x="552" y="384"/>
                  </a:lnTo>
                  <a:lnTo>
                    <a:pt x="484" y="384"/>
                  </a:lnTo>
                  <a:lnTo>
                    <a:pt x="414" y="382"/>
                  </a:lnTo>
                  <a:lnTo>
                    <a:pt x="414" y="382"/>
                  </a:lnTo>
                  <a:lnTo>
                    <a:pt x="330" y="378"/>
                  </a:lnTo>
                  <a:lnTo>
                    <a:pt x="246" y="370"/>
                  </a:lnTo>
                  <a:lnTo>
                    <a:pt x="78" y="356"/>
                  </a:lnTo>
                  <a:lnTo>
                    <a:pt x="78" y="356"/>
                  </a:lnTo>
                  <a:lnTo>
                    <a:pt x="40" y="350"/>
                  </a:lnTo>
                  <a:lnTo>
                    <a:pt x="0" y="344"/>
                  </a:lnTo>
                  <a:lnTo>
                    <a:pt x="0" y="344"/>
                  </a:lnTo>
                  <a:lnTo>
                    <a:pt x="14" y="324"/>
                  </a:lnTo>
                  <a:lnTo>
                    <a:pt x="28" y="302"/>
                  </a:lnTo>
                  <a:lnTo>
                    <a:pt x="40" y="282"/>
                  </a:lnTo>
                  <a:lnTo>
                    <a:pt x="52" y="262"/>
                  </a:lnTo>
                  <a:lnTo>
                    <a:pt x="60" y="242"/>
                  </a:lnTo>
                  <a:lnTo>
                    <a:pt x="66" y="220"/>
                  </a:lnTo>
                  <a:lnTo>
                    <a:pt x="72" y="198"/>
                  </a:lnTo>
                  <a:lnTo>
                    <a:pt x="76" y="178"/>
                  </a:lnTo>
                  <a:lnTo>
                    <a:pt x="78" y="156"/>
                  </a:lnTo>
                  <a:lnTo>
                    <a:pt x="78" y="134"/>
                  </a:lnTo>
                  <a:lnTo>
                    <a:pt x="76" y="112"/>
                  </a:lnTo>
                  <a:lnTo>
                    <a:pt x="72" y="90"/>
                  </a:lnTo>
                  <a:lnTo>
                    <a:pt x="68" y="68"/>
                  </a:lnTo>
                  <a:lnTo>
                    <a:pt x="62" y="46"/>
                  </a:lnTo>
                  <a:lnTo>
                    <a:pt x="54" y="22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45 Light"/>
                <a:ea typeface="+mn-ea"/>
                <a:cs typeface="+mn-cs"/>
              </a:endParaRPr>
            </a:p>
          </p:txBody>
        </p:sp>
        <p:sp>
          <p:nvSpPr>
            <p:cNvPr id="27" name="Freeform 226">
              <a:extLst>
                <a:ext uri="{FF2B5EF4-FFF2-40B4-BE49-F238E27FC236}">
                  <a16:creationId xmlns:a16="http://schemas.microsoft.com/office/drawing/2014/main" id="{AF9CA5F7-316C-454E-6EFD-1DB5F11A3301}"/>
                </a:ext>
              </a:extLst>
            </p:cNvPr>
            <p:cNvSpPr>
              <a:spLocks/>
            </p:cNvSpPr>
            <p:nvPr/>
          </p:nvSpPr>
          <p:spPr bwMode="gray">
            <a:xfrm>
              <a:off x="12087219" y="3895725"/>
              <a:ext cx="685808" cy="1584324"/>
            </a:xfrm>
            <a:custGeom>
              <a:avLst/>
              <a:gdLst>
                <a:gd name="T0" fmla="*/ 320 w 432"/>
                <a:gd name="T1" fmla="*/ 2 h 998"/>
                <a:gd name="T2" fmla="*/ 320 w 432"/>
                <a:gd name="T3" fmla="*/ 2 h 998"/>
                <a:gd name="T4" fmla="*/ 334 w 432"/>
                <a:gd name="T5" fmla="*/ 130 h 998"/>
                <a:gd name="T6" fmla="*/ 334 w 432"/>
                <a:gd name="T7" fmla="*/ 130 h 998"/>
                <a:gd name="T8" fmla="*/ 380 w 432"/>
                <a:gd name="T9" fmla="*/ 526 h 998"/>
                <a:gd name="T10" fmla="*/ 380 w 432"/>
                <a:gd name="T11" fmla="*/ 526 h 998"/>
                <a:gd name="T12" fmla="*/ 430 w 432"/>
                <a:gd name="T13" fmla="*/ 966 h 998"/>
                <a:gd name="T14" fmla="*/ 430 w 432"/>
                <a:gd name="T15" fmla="*/ 966 h 998"/>
                <a:gd name="T16" fmla="*/ 432 w 432"/>
                <a:gd name="T17" fmla="*/ 980 h 998"/>
                <a:gd name="T18" fmla="*/ 432 w 432"/>
                <a:gd name="T19" fmla="*/ 980 h 998"/>
                <a:gd name="T20" fmla="*/ 432 w 432"/>
                <a:gd name="T21" fmla="*/ 988 h 998"/>
                <a:gd name="T22" fmla="*/ 430 w 432"/>
                <a:gd name="T23" fmla="*/ 994 h 998"/>
                <a:gd name="T24" fmla="*/ 424 w 432"/>
                <a:gd name="T25" fmla="*/ 998 h 998"/>
                <a:gd name="T26" fmla="*/ 414 w 432"/>
                <a:gd name="T27" fmla="*/ 998 h 998"/>
                <a:gd name="T28" fmla="*/ 414 w 432"/>
                <a:gd name="T29" fmla="*/ 998 h 998"/>
                <a:gd name="T30" fmla="*/ 262 w 432"/>
                <a:gd name="T31" fmla="*/ 998 h 998"/>
                <a:gd name="T32" fmla="*/ 262 w 432"/>
                <a:gd name="T33" fmla="*/ 998 h 998"/>
                <a:gd name="T34" fmla="*/ 24 w 432"/>
                <a:gd name="T35" fmla="*/ 998 h 998"/>
                <a:gd name="T36" fmla="*/ 24 w 432"/>
                <a:gd name="T37" fmla="*/ 998 h 998"/>
                <a:gd name="T38" fmla="*/ 0 w 432"/>
                <a:gd name="T39" fmla="*/ 996 h 998"/>
                <a:gd name="T40" fmla="*/ 0 w 432"/>
                <a:gd name="T41" fmla="*/ 996 h 998"/>
                <a:gd name="T42" fmla="*/ 6 w 432"/>
                <a:gd name="T43" fmla="*/ 930 h 998"/>
                <a:gd name="T44" fmla="*/ 6 w 432"/>
                <a:gd name="T45" fmla="*/ 930 h 998"/>
                <a:gd name="T46" fmla="*/ 52 w 432"/>
                <a:gd name="T47" fmla="*/ 532 h 998"/>
                <a:gd name="T48" fmla="*/ 52 w 432"/>
                <a:gd name="T49" fmla="*/ 532 h 998"/>
                <a:gd name="T50" fmla="*/ 62 w 432"/>
                <a:gd name="T51" fmla="*/ 446 h 998"/>
                <a:gd name="T52" fmla="*/ 72 w 432"/>
                <a:gd name="T53" fmla="*/ 358 h 998"/>
                <a:gd name="T54" fmla="*/ 72 w 432"/>
                <a:gd name="T55" fmla="*/ 358 h 998"/>
                <a:gd name="T56" fmla="*/ 78 w 432"/>
                <a:gd name="T57" fmla="*/ 340 h 998"/>
                <a:gd name="T58" fmla="*/ 82 w 432"/>
                <a:gd name="T59" fmla="*/ 332 h 998"/>
                <a:gd name="T60" fmla="*/ 86 w 432"/>
                <a:gd name="T61" fmla="*/ 324 h 998"/>
                <a:gd name="T62" fmla="*/ 86 w 432"/>
                <a:gd name="T63" fmla="*/ 324 h 998"/>
                <a:gd name="T64" fmla="*/ 142 w 432"/>
                <a:gd name="T65" fmla="*/ 256 h 998"/>
                <a:gd name="T66" fmla="*/ 194 w 432"/>
                <a:gd name="T67" fmla="*/ 186 h 998"/>
                <a:gd name="T68" fmla="*/ 246 w 432"/>
                <a:gd name="T69" fmla="*/ 114 h 998"/>
                <a:gd name="T70" fmla="*/ 270 w 432"/>
                <a:gd name="T71" fmla="*/ 78 h 998"/>
                <a:gd name="T72" fmla="*/ 292 w 432"/>
                <a:gd name="T73" fmla="*/ 40 h 998"/>
                <a:gd name="T74" fmla="*/ 292 w 432"/>
                <a:gd name="T75" fmla="*/ 40 h 998"/>
                <a:gd name="T76" fmla="*/ 314 w 432"/>
                <a:gd name="T77" fmla="*/ 0 h 998"/>
                <a:gd name="T78" fmla="*/ 314 w 432"/>
                <a:gd name="T79" fmla="*/ 0 h 998"/>
                <a:gd name="T80" fmla="*/ 320 w 432"/>
                <a:gd name="T81" fmla="*/ 2 h 998"/>
                <a:gd name="T82" fmla="*/ 320 w 432"/>
                <a:gd name="T83" fmla="*/ 2 h 9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32" h="998">
                  <a:moveTo>
                    <a:pt x="320" y="2"/>
                  </a:moveTo>
                  <a:lnTo>
                    <a:pt x="320" y="2"/>
                  </a:lnTo>
                  <a:lnTo>
                    <a:pt x="334" y="130"/>
                  </a:lnTo>
                  <a:lnTo>
                    <a:pt x="334" y="130"/>
                  </a:lnTo>
                  <a:lnTo>
                    <a:pt x="380" y="526"/>
                  </a:lnTo>
                  <a:lnTo>
                    <a:pt x="380" y="526"/>
                  </a:lnTo>
                  <a:lnTo>
                    <a:pt x="430" y="966"/>
                  </a:lnTo>
                  <a:lnTo>
                    <a:pt x="430" y="966"/>
                  </a:lnTo>
                  <a:lnTo>
                    <a:pt x="432" y="980"/>
                  </a:lnTo>
                  <a:lnTo>
                    <a:pt x="432" y="980"/>
                  </a:lnTo>
                  <a:lnTo>
                    <a:pt x="432" y="988"/>
                  </a:lnTo>
                  <a:lnTo>
                    <a:pt x="430" y="994"/>
                  </a:lnTo>
                  <a:lnTo>
                    <a:pt x="424" y="998"/>
                  </a:lnTo>
                  <a:lnTo>
                    <a:pt x="414" y="998"/>
                  </a:lnTo>
                  <a:lnTo>
                    <a:pt x="414" y="998"/>
                  </a:lnTo>
                  <a:lnTo>
                    <a:pt x="262" y="998"/>
                  </a:lnTo>
                  <a:lnTo>
                    <a:pt x="262" y="998"/>
                  </a:lnTo>
                  <a:lnTo>
                    <a:pt x="24" y="998"/>
                  </a:lnTo>
                  <a:lnTo>
                    <a:pt x="24" y="998"/>
                  </a:lnTo>
                  <a:lnTo>
                    <a:pt x="0" y="996"/>
                  </a:lnTo>
                  <a:lnTo>
                    <a:pt x="0" y="996"/>
                  </a:lnTo>
                  <a:lnTo>
                    <a:pt x="6" y="930"/>
                  </a:lnTo>
                  <a:lnTo>
                    <a:pt x="6" y="930"/>
                  </a:lnTo>
                  <a:lnTo>
                    <a:pt x="52" y="532"/>
                  </a:lnTo>
                  <a:lnTo>
                    <a:pt x="52" y="532"/>
                  </a:lnTo>
                  <a:lnTo>
                    <a:pt x="62" y="446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8" y="340"/>
                  </a:lnTo>
                  <a:lnTo>
                    <a:pt x="82" y="332"/>
                  </a:lnTo>
                  <a:lnTo>
                    <a:pt x="86" y="324"/>
                  </a:lnTo>
                  <a:lnTo>
                    <a:pt x="86" y="324"/>
                  </a:lnTo>
                  <a:lnTo>
                    <a:pt x="142" y="256"/>
                  </a:lnTo>
                  <a:lnTo>
                    <a:pt x="194" y="186"/>
                  </a:lnTo>
                  <a:lnTo>
                    <a:pt x="246" y="114"/>
                  </a:lnTo>
                  <a:lnTo>
                    <a:pt x="270" y="78"/>
                  </a:lnTo>
                  <a:lnTo>
                    <a:pt x="292" y="40"/>
                  </a:lnTo>
                  <a:lnTo>
                    <a:pt x="292" y="40"/>
                  </a:lnTo>
                  <a:lnTo>
                    <a:pt x="314" y="0"/>
                  </a:lnTo>
                  <a:lnTo>
                    <a:pt x="314" y="0"/>
                  </a:lnTo>
                  <a:lnTo>
                    <a:pt x="320" y="2"/>
                  </a:lnTo>
                  <a:lnTo>
                    <a:pt x="320" y="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45 Light"/>
                <a:ea typeface="+mn-ea"/>
                <a:cs typeface="+mn-cs"/>
              </a:endParaRPr>
            </a:p>
          </p:txBody>
        </p:sp>
        <p:sp>
          <p:nvSpPr>
            <p:cNvPr id="28" name="Freeform 227">
              <a:extLst>
                <a:ext uri="{FF2B5EF4-FFF2-40B4-BE49-F238E27FC236}">
                  <a16:creationId xmlns:a16="http://schemas.microsoft.com/office/drawing/2014/main" id="{FE15E93F-280C-E7B1-AC37-07252EF38762}"/>
                </a:ext>
              </a:extLst>
            </p:cNvPr>
            <p:cNvSpPr>
              <a:spLocks/>
            </p:cNvSpPr>
            <p:nvPr/>
          </p:nvSpPr>
          <p:spPr bwMode="gray">
            <a:xfrm>
              <a:off x="12090392" y="3073408"/>
              <a:ext cx="654057" cy="650869"/>
            </a:xfrm>
            <a:custGeom>
              <a:avLst/>
              <a:gdLst>
                <a:gd name="T0" fmla="*/ 204 w 412"/>
                <a:gd name="T1" fmla="*/ 0 h 410"/>
                <a:gd name="T2" fmla="*/ 246 w 412"/>
                <a:gd name="T3" fmla="*/ 4 h 410"/>
                <a:gd name="T4" fmla="*/ 284 w 412"/>
                <a:gd name="T5" fmla="*/ 16 h 410"/>
                <a:gd name="T6" fmla="*/ 320 w 412"/>
                <a:gd name="T7" fmla="*/ 34 h 410"/>
                <a:gd name="T8" fmla="*/ 350 w 412"/>
                <a:gd name="T9" fmla="*/ 58 h 410"/>
                <a:gd name="T10" fmla="*/ 376 w 412"/>
                <a:gd name="T11" fmla="*/ 90 h 410"/>
                <a:gd name="T12" fmla="*/ 394 w 412"/>
                <a:gd name="T13" fmla="*/ 124 h 410"/>
                <a:gd name="T14" fmla="*/ 406 w 412"/>
                <a:gd name="T15" fmla="*/ 162 h 410"/>
                <a:gd name="T16" fmla="*/ 412 w 412"/>
                <a:gd name="T17" fmla="*/ 204 h 410"/>
                <a:gd name="T18" fmla="*/ 410 w 412"/>
                <a:gd name="T19" fmla="*/ 224 h 410"/>
                <a:gd name="T20" fmla="*/ 402 w 412"/>
                <a:gd name="T21" fmla="*/ 264 h 410"/>
                <a:gd name="T22" fmla="*/ 388 w 412"/>
                <a:gd name="T23" fmla="*/ 302 h 410"/>
                <a:gd name="T24" fmla="*/ 366 w 412"/>
                <a:gd name="T25" fmla="*/ 334 h 410"/>
                <a:gd name="T26" fmla="*/ 338 w 412"/>
                <a:gd name="T27" fmla="*/ 362 h 410"/>
                <a:gd name="T28" fmla="*/ 306 w 412"/>
                <a:gd name="T29" fmla="*/ 384 h 410"/>
                <a:gd name="T30" fmla="*/ 268 w 412"/>
                <a:gd name="T31" fmla="*/ 400 h 410"/>
                <a:gd name="T32" fmla="*/ 228 w 412"/>
                <a:gd name="T33" fmla="*/ 410 h 410"/>
                <a:gd name="T34" fmla="*/ 208 w 412"/>
                <a:gd name="T35" fmla="*/ 410 h 410"/>
                <a:gd name="T36" fmla="*/ 166 w 412"/>
                <a:gd name="T37" fmla="*/ 406 h 410"/>
                <a:gd name="T38" fmla="*/ 128 w 412"/>
                <a:gd name="T39" fmla="*/ 396 h 410"/>
                <a:gd name="T40" fmla="*/ 92 w 412"/>
                <a:gd name="T41" fmla="*/ 376 h 410"/>
                <a:gd name="T42" fmla="*/ 62 w 412"/>
                <a:gd name="T43" fmla="*/ 352 h 410"/>
                <a:gd name="T44" fmla="*/ 36 w 412"/>
                <a:gd name="T45" fmla="*/ 322 h 410"/>
                <a:gd name="T46" fmla="*/ 16 w 412"/>
                <a:gd name="T47" fmla="*/ 288 h 410"/>
                <a:gd name="T48" fmla="*/ 4 w 412"/>
                <a:gd name="T49" fmla="*/ 250 h 410"/>
                <a:gd name="T50" fmla="*/ 0 w 412"/>
                <a:gd name="T51" fmla="*/ 208 h 410"/>
                <a:gd name="T52" fmla="*/ 0 w 412"/>
                <a:gd name="T53" fmla="*/ 188 h 410"/>
                <a:gd name="T54" fmla="*/ 8 w 412"/>
                <a:gd name="T55" fmla="*/ 146 h 410"/>
                <a:gd name="T56" fmla="*/ 24 w 412"/>
                <a:gd name="T57" fmla="*/ 110 h 410"/>
                <a:gd name="T58" fmla="*/ 44 w 412"/>
                <a:gd name="T59" fmla="*/ 76 h 410"/>
                <a:gd name="T60" fmla="*/ 72 w 412"/>
                <a:gd name="T61" fmla="*/ 48 h 410"/>
                <a:gd name="T62" fmla="*/ 106 w 412"/>
                <a:gd name="T63" fmla="*/ 26 h 410"/>
                <a:gd name="T64" fmla="*/ 142 w 412"/>
                <a:gd name="T65" fmla="*/ 10 h 410"/>
                <a:gd name="T66" fmla="*/ 184 w 412"/>
                <a:gd name="T67" fmla="*/ 2 h 410"/>
                <a:gd name="T68" fmla="*/ 204 w 412"/>
                <a:gd name="T69" fmla="*/ 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12" h="410">
                  <a:moveTo>
                    <a:pt x="204" y="0"/>
                  </a:moveTo>
                  <a:lnTo>
                    <a:pt x="204" y="0"/>
                  </a:lnTo>
                  <a:lnTo>
                    <a:pt x="226" y="0"/>
                  </a:lnTo>
                  <a:lnTo>
                    <a:pt x="246" y="4"/>
                  </a:lnTo>
                  <a:lnTo>
                    <a:pt x="266" y="8"/>
                  </a:lnTo>
                  <a:lnTo>
                    <a:pt x="284" y="16"/>
                  </a:lnTo>
                  <a:lnTo>
                    <a:pt x="302" y="24"/>
                  </a:lnTo>
                  <a:lnTo>
                    <a:pt x="320" y="34"/>
                  </a:lnTo>
                  <a:lnTo>
                    <a:pt x="336" y="46"/>
                  </a:lnTo>
                  <a:lnTo>
                    <a:pt x="350" y="58"/>
                  </a:lnTo>
                  <a:lnTo>
                    <a:pt x="364" y="74"/>
                  </a:lnTo>
                  <a:lnTo>
                    <a:pt x="376" y="90"/>
                  </a:lnTo>
                  <a:lnTo>
                    <a:pt x="386" y="106"/>
                  </a:lnTo>
                  <a:lnTo>
                    <a:pt x="394" y="124"/>
                  </a:lnTo>
                  <a:lnTo>
                    <a:pt x="402" y="142"/>
                  </a:lnTo>
                  <a:lnTo>
                    <a:pt x="406" y="162"/>
                  </a:lnTo>
                  <a:lnTo>
                    <a:pt x="410" y="182"/>
                  </a:lnTo>
                  <a:lnTo>
                    <a:pt x="412" y="204"/>
                  </a:lnTo>
                  <a:lnTo>
                    <a:pt x="412" y="204"/>
                  </a:lnTo>
                  <a:lnTo>
                    <a:pt x="410" y="224"/>
                  </a:lnTo>
                  <a:lnTo>
                    <a:pt x="408" y="244"/>
                  </a:lnTo>
                  <a:lnTo>
                    <a:pt x="402" y="264"/>
                  </a:lnTo>
                  <a:lnTo>
                    <a:pt x="396" y="284"/>
                  </a:lnTo>
                  <a:lnTo>
                    <a:pt x="388" y="302"/>
                  </a:lnTo>
                  <a:lnTo>
                    <a:pt x="378" y="318"/>
                  </a:lnTo>
                  <a:lnTo>
                    <a:pt x="366" y="334"/>
                  </a:lnTo>
                  <a:lnTo>
                    <a:pt x="352" y="348"/>
                  </a:lnTo>
                  <a:lnTo>
                    <a:pt x="338" y="362"/>
                  </a:lnTo>
                  <a:lnTo>
                    <a:pt x="322" y="374"/>
                  </a:lnTo>
                  <a:lnTo>
                    <a:pt x="306" y="384"/>
                  </a:lnTo>
                  <a:lnTo>
                    <a:pt x="288" y="394"/>
                  </a:lnTo>
                  <a:lnTo>
                    <a:pt x="268" y="400"/>
                  </a:lnTo>
                  <a:lnTo>
                    <a:pt x="250" y="406"/>
                  </a:lnTo>
                  <a:lnTo>
                    <a:pt x="228" y="410"/>
                  </a:lnTo>
                  <a:lnTo>
                    <a:pt x="208" y="410"/>
                  </a:lnTo>
                  <a:lnTo>
                    <a:pt x="208" y="410"/>
                  </a:lnTo>
                  <a:lnTo>
                    <a:pt x="186" y="410"/>
                  </a:lnTo>
                  <a:lnTo>
                    <a:pt x="166" y="406"/>
                  </a:lnTo>
                  <a:lnTo>
                    <a:pt x="146" y="402"/>
                  </a:lnTo>
                  <a:lnTo>
                    <a:pt x="128" y="396"/>
                  </a:lnTo>
                  <a:lnTo>
                    <a:pt x="110" y="386"/>
                  </a:lnTo>
                  <a:lnTo>
                    <a:pt x="92" y="376"/>
                  </a:lnTo>
                  <a:lnTo>
                    <a:pt x="76" y="364"/>
                  </a:lnTo>
                  <a:lnTo>
                    <a:pt x="62" y="352"/>
                  </a:lnTo>
                  <a:lnTo>
                    <a:pt x="48" y="338"/>
                  </a:lnTo>
                  <a:lnTo>
                    <a:pt x="36" y="322"/>
                  </a:lnTo>
                  <a:lnTo>
                    <a:pt x="24" y="306"/>
                  </a:lnTo>
                  <a:lnTo>
                    <a:pt x="16" y="288"/>
                  </a:lnTo>
                  <a:lnTo>
                    <a:pt x="8" y="268"/>
                  </a:lnTo>
                  <a:lnTo>
                    <a:pt x="4" y="250"/>
                  </a:lnTo>
                  <a:lnTo>
                    <a:pt x="0" y="230"/>
                  </a:lnTo>
                  <a:lnTo>
                    <a:pt x="0" y="208"/>
                  </a:lnTo>
                  <a:lnTo>
                    <a:pt x="0" y="208"/>
                  </a:lnTo>
                  <a:lnTo>
                    <a:pt x="0" y="188"/>
                  </a:lnTo>
                  <a:lnTo>
                    <a:pt x="4" y="166"/>
                  </a:lnTo>
                  <a:lnTo>
                    <a:pt x="8" y="146"/>
                  </a:lnTo>
                  <a:lnTo>
                    <a:pt x="14" y="128"/>
                  </a:lnTo>
                  <a:lnTo>
                    <a:pt x="24" y="110"/>
                  </a:lnTo>
                  <a:lnTo>
                    <a:pt x="34" y="92"/>
                  </a:lnTo>
                  <a:lnTo>
                    <a:pt x="44" y="76"/>
                  </a:lnTo>
                  <a:lnTo>
                    <a:pt x="58" y="62"/>
                  </a:lnTo>
                  <a:lnTo>
                    <a:pt x="72" y="48"/>
                  </a:lnTo>
                  <a:lnTo>
                    <a:pt x="88" y="36"/>
                  </a:lnTo>
                  <a:lnTo>
                    <a:pt x="106" y="26"/>
                  </a:lnTo>
                  <a:lnTo>
                    <a:pt x="124" y="16"/>
                  </a:lnTo>
                  <a:lnTo>
                    <a:pt x="142" y="10"/>
                  </a:lnTo>
                  <a:lnTo>
                    <a:pt x="162" y="4"/>
                  </a:lnTo>
                  <a:lnTo>
                    <a:pt x="184" y="2"/>
                  </a:lnTo>
                  <a:lnTo>
                    <a:pt x="204" y="0"/>
                  </a:lnTo>
                  <a:lnTo>
                    <a:pt x="20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45 Light"/>
                <a:ea typeface="+mn-ea"/>
                <a:cs typeface="+mn-cs"/>
              </a:endParaRPr>
            </a:p>
          </p:txBody>
        </p:sp>
      </p:grpSp>
      <p:sp>
        <p:nvSpPr>
          <p:cNvPr id="29" name="Freeform 282">
            <a:extLst>
              <a:ext uri="{FF2B5EF4-FFF2-40B4-BE49-F238E27FC236}">
                <a16:creationId xmlns:a16="http://schemas.microsoft.com/office/drawing/2014/main" id="{54D3A12C-0C16-D5B3-F1C7-E2BB7BD69735}"/>
              </a:ext>
            </a:extLst>
          </p:cNvPr>
          <p:cNvSpPr>
            <a:spLocks noEditPoints="1"/>
          </p:cNvSpPr>
          <p:nvPr/>
        </p:nvSpPr>
        <p:spPr bwMode="auto">
          <a:xfrm>
            <a:off x="3525811" y="5399420"/>
            <a:ext cx="534103" cy="359717"/>
          </a:xfrm>
          <a:custGeom>
            <a:avLst/>
            <a:gdLst>
              <a:gd name="T0" fmla="*/ 476 w 1432"/>
              <a:gd name="T1" fmla="*/ 762 h 910"/>
              <a:gd name="T2" fmla="*/ 492 w 1432"/>
              <a:gd name="T3" fmla="*/ 752 h 910"/>
              <a:gd name="T4" fmla="*/ 632 w 1432"/>
              <a:gd name="T5" fmla="*/ 748 h 910"/>
              <a:gd name="T6" fmla="*/ 636 w 1432"/>
              <a:gd name="T7" fmla="*/ 618 h 910"/>
              <a:gd name="T8" fmla="*/ 612 w 1432"/>
              <a:gd name="T9" fmla="*/ 594 h 910"/>
              <a:gd name="T10" fmla="*/ 6 w 1432"/>
              <a:gd name="T11" fmla="*/ 592 h 910"/>
              <a:gd name="T12" fmla="*/ 6 w 1432"/>
              <a:gd name="T13" fmla="*/ 564 h 910"/>
              <a:gd name="T14" fmla="*/ 162 w 1432"/>
              <a:gd name="T15" fmla="*/ 18 h 910"/>
              <a:gd name="T16" fmla="*/ 188 w 1432"/>
              <a:gd name="T17" fmla="*/ 0 h 910"/>
              <a:gd name="T18" fmla="*/ 1252 w 1432"/>
              <a:gd name="T19" fmla="*/ 0 h 910"/>
              <a:gd name="T20" fmla="*/ 1388 w 1432"/>
              <a:gd name="T21" fmla="*/ 432 h 910"/>
              <a:gd name="T22" fmla="*/ 1432 w 1432"/>
              <a:gd name="T23" fmla="*/ 584 h 910"/>
              <a:gd name="T24" fmla="*/ 1412 w 1432"/>
              <a:gd name="T25" fmla="*/ 594 h 910"/>
              <a:gd name="T26" fmla="*/ 806 w 1432"/>
              <a:gd name="T27" fmla="*/ 594 h 910"/>
              <a:gd name="T28" fmla="*/ 796 w 1432"/>
              <a:gd name="T29" fmla="*/ 674 h 910"/>
              <a:gd name="T30" fmla="*/ 806 w 1432"/>
              <a:gd name="T31" fmla="*/ 750 h 910"/>
              <a:gd name="T32" fmla="*/ 936 w 1432"/>
              <a:gd name="T33" fmla="*/ 750 h 910"/>
              <a:gd name="T34" fmla="*/ 956 w 1432"/>
              <a:gd name="T35" fmla="*/ 770 h 910"/>
              <a:gd name="T36" fmla="*/ 948 w 1432"/>
              <a:gd name="T37" fmla="*/ 910 h 910"/>
              <a:gd name="T38" fmla="*/ 476 w 1432"/>
              <a:gd name="T39" fmla="*/ 908 h 910"/>
              <a:gd name="T40" fmla="*/ 1140 w 1432"/>
              <a:gd name="T41" fmla="*/ 514 h 910"/>
              <a:gd name="T42" fmla="*/ 1318 w 1432"/>
              <a:gd name="T43" fmla="*/ 504 h 910"/>
              <a:gd name="T44" fmla="*/ 1262 w 1432"/>
              <a:gd name="T45" fmla="*/ 286 h 910"/>
              <a:gd name="T46" fmla="*/ 962 w 1432"/>
              <a:gd name="T47" fmla="*/ 280 h 910"/>
              <a:gd name="T48" fmla="*/ 942 w 1432"/>
              <a:gd name="T49" fmla="*/ 292 h 910"/>
              <a:gd name="T50" fmla="*/ 962 w 1432"/>
              <a:gd name="T51" fmla="*/ 494 h 910"/>
              <a:gd name="T52" fmla="*/ 986 w 1432"/>
              <a:gd name="T53" fmla="*/ 514 h 910"/>
              <a:gd name="T54" fmla="*/ 708 w 1432"/>
              <a:gd name="T55" fmla="*/ 514 h 910"/>
              <a:gd name="T56" fmla="*/ 872 w 1432"/>
              <a:gd name="T57" fmla="*/ 510 h 910"/>
              <a:gd name="T58" fmla="*/ 862 w 1432"/>
              <a:gd name="T59" fmla="*/ 298 h 910"/>
              <a:gd name="T60" fmla="*/ 842 w 1432"/>
              <a:gd name="T61" fmla="*/ 280 h 910"/>
              <a:gd name="T62" fmla="*/ 554 w 1432"/>
              <a:gd name="T63" fmla="*/ 290 h 910"/>
              <a:gd name="T64" fmla="*/ 540 w 1432"/>
              <a:gd name="T65" fmla="*/ 504 h 910"/>
              <a:gd name="T66" fmla="*/ 708 w 1432"/>
              <a:gd name="T67" fmla="*/ 514 h 910"/>
              <a:gd name="T68" fmla="*/ 278 w 1432"/>
              <a:gd name="T69" fmla="*/ 514 h 910"/>
              <a:gd name="T70" fmla="*/ 444 w 1432"/>
              <a:gd name="T71" fmla="*/ 508 h 910"/>
              <a:gd name="T72" fmla="*/ 470 w 1432"/>
              <a:gd name="T73" fmla="*/ 298 h 910"/>
              <a:gd name="T74" fmla="*/ 456 w 1432"/>
              <a:gd name="T75" fmla="*/ 280 h 910"/>
              <a:gd name="T76" fmla="*/ 170 w 1432"/>
              <a:gd name="T77" fmla="*/ 284 h 910"/>
              <a:gd name="T78" fmla="*/ 114 w 1432"/>
              <a:gd name="T79" fmla="*/ 494 h 910"/>
              <a:gd name="T80" fmla="*/ 128 w 1432"/>
              <a:gd name="T81" fmla="*/ 514 h 910"/>
              <a:gd name="T82" fmla="*/ 1092 w 1432"/>
              <a:gd name="T83" fmla="*/ 220 h 910"/>
              <a:gd name="T84" fmla="*/ 1246 w 1432"/>
              <a:gd name="T85" fmla="*/ 212 h 910"/>
              <a:gd name="T86" fmla="*/ 1206 w 1432"/>
              <a:gd name="T87" fmla="*/ 56 h 910"/>
              <a:gd name="T88" fmla="*/ 934 w 1432"/>
              <a:gd name="T89" fmla="*/ 48 h 910"/>
              <a:gd name="T90" fmla="*/ 920 w 1432"/>
              <a:gd name="T91" fmla="*/ 64 h 910"/>
              <a:gd name="T92" fmla="*/ 940 w 1432"/>
              <a:gd name="T93" fmla="*/ 216 h 910"/>
              <a:gd name="T94" fmla="*/ 1092 w 1432"/>
              <a:gd name="T95" fmla="*/ 220 h 910"/>
              <a:gd name="T96" fmla="*/ 236 w 1432"/>
              <a:gd name="T97" fmla="*/ 48 h 910"/>
              <a:gd name="T98" fmla="*/ 222 w 1432"/>
              <a:gd name="T99" fmla="*/ 62 h 910"/>
              <a:gd name="T100" fmla="*/ 188 w 1432"/>
              <a:gd name="T101" fmla="*/ 216 h 910"/>
              <a:gd name="T102" fmla="*/ 460 w 1432"/>
              <a:gd name="T103" fmla="*/ 220 h 910"/>
              <a:gd name="T104" fmla="*/ 482 w 1432"/>
              <a:gd name="T105" fmla="*/ 202 h 910"/>
              <a:gd name="T106" fmla="*/ 572 w 1432"/>
              <a:gd name="T107" fmla="*/ 48 h 910"/>
              <a:gd name="T108" fmla="*/ 566 w 1432"/>
              <a:gd name="T109" fmla="*/ 218 h 910"/>
              <a:gd name="T110" fmla="*/ 838 w 1432"/>
              <a:gd name="T111" fmla="*/ 220 h 910"/>
              <a:gd name="T112" fmla="*/ 856 w 1432"/>
              <a:gd name="T113" fmla="*/ 204 h 910"/>
              <a:gd name="T114" fmla="*/ 836 w 1432"/>
              <a:gd name="T115" fmla="*/ 48 h 910"/>
              <a:gd name="T116" fmla="*/ 572 w 1432"/>
              <a:gd name="T117" fmla="*/ 48 h 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432" h="910">
                <a:moveTo>
                  <a:pt x="476" y="908"/>
                </a:moveTo>
                <a:lnTo>
                  <a:pt x="476" y="908"/>
                </a:lnTo>
                <a:lnTo>
                  <a:pt x="476" y="834"/>
                </a:lnTo>
                <a:lnTo>
                  <a:pt x="476" y="762"/>
                </a:lnTo>
                <a:lnTo>
                  <a:pt x="476" y="762"/>
                </a:lnTo>
                <a:lnTo>
                  <a:pt x="478" y="758"/>
                </a:lnTo>
                <a:lnTo>
                  <a:pt x="482" y="756"/>
                </a:lnTo>
                <a:lnTo>
                  <a:pt x="488" y="752"/>
                </a:lnTo>
                <a:lnTo>
                  <a:pt x="492" y="752"/>
                </a:lnTo>
                <a:lnTo>
                  <a:pt x="492" y="752"/>
                </a:lnTo>
                <a:lnTo>
                  <a:pt x="554" y="750"/>
                </a:lnTo>
                <a:lnTo>
                  <a:pt x="616" y="752"/>
                </a:lnTo>
                <a:lnTo>
                  <a:pt x="616" y="752"/>
                </a:lnTo>
                <a:lnTo>
                  <a:pt x="626" y="750"/>
                </a:lnTo>
                <a:lnTo>
                  <a:pt x="632" y="748"/>
                </a:lnTo>
                <a:lnTo>
                  <a:pt x="636" y="740"/>
                </a:lnTo>
                <a:lnTo>
                  <a:pt x="636" y="730"/>
                </a:lnTo>
                <a:lnTo>
                  <a:pt x="636" y="730"/>
                </a:lnTo>
                <a:lnTo>
                  <a:pt x="636" y="674"/>
                </a:lnTo>
                <a:lnTo>
                  <a:pt x="636" y="618"/>
                </a:lnTo>
                <a:lnTo>
                  <a:pt x="636" y="618"/>
                </a:lnTo>
                <a:lnTo>
                  <a:pt x="636" y="606"/>
                </a:lnTo>
                <a:lnTo>
                  <a:pt x="632" y="598"/>
                </a:lnTo>
                <a:lnTo>
                  <a:pt x="624" y="594"/>
                </a:lnTo>
                <a:lnTo>
                  <a:pt x="612" y="594"/>
                </a:lnTo>
                <a:lnTo>
                  <a:pt x="612" y="594"/>
                </a:lnTo>
                <a:lnTo>
                  <a:pt x="30" y="594"/>
                </a:lnTo>
                <a:lnTo>
                  <a:pt x="30" y="594"/>
                </a:lnTo>
                <a:lnTo>
                  <a:pt x="10" y="594"/>
                </a:lnTo>
                <a:lnTo>
                  <a:pt x="6" y="592"/>
                </a:lnTo>
                <a:lnTo>
                  <a:pt x="2" y="590"/>
                </a:lnTo>
                <a:lnTo>
                  <a:pt x="0" y="586"/>
                </a:lnTo>
                <a:lnTo>
                  <a:pt x="0" y="580"/>
                </a:lnTo>
                <a:lnTo>
                  <a:pt x="6" y="564"/>
                </a:lnTo>
                <a:lnTo>
                  <a:pt x="6" y="564"/>
                </a:lnTo>
                <a:lnTo>
                  <a:pt x="114" y="188"/>
                </a:lnTo>
                <a:lnTo>
                  <a:pt x="114" y="188"/>
                </a:lnTo>
                <a:lnTo>
                  <a:pt x="138" y="104"/>
                </a:lnTo>
                <a:lnTo>
                  <a:pt x="162" y="18"/>
                </a:lnTo>
                <a:lnTo>
                  <a:pt x="162" y="18"/>
                </a:lnTo>
                <a:lnTo>
                  <a:pt x="166" y="8"/>
                </a:lnTo>
                <a:lnTo>
                  <a:pt x="172" y="2"/>
                </a:lnTo>
                <a:lnTo>
                  <a:pt x="178" y="0"/>
                </a:lnTo>
                <a:lnTo>
                  <a:pt x="188" y="0"/>
                </a:lnTo>
                <a:lnTo>
                  <a:pt x="188" y="0"/>
                </a:lnTo>
                <a:lnTo>
                  <a:pt x="722" y="0"/>
                </a:lnTo>
                <a:lnTo>
                  <a:pt x="722" y="0"/>
                </a:lnTo>
                <a:lnTo>
                  <a:pt x="1242" y="0"/>
                </a:lnTo>
                <a:lnTo>
                  <a:pt x="1242" y="0"/>
                </a:lnTo>
                <a:lnTo>
                  <a:pt x="1252" y="0"/>
                </a:lnTo>
                <a:lnTo>
                  <a:pt x="1260" y="4"/>
                </a:lnTo>
                <a:lnTo>
                  <a:pt x="1266" y="10"/>
                </a:lnTo>
                <a:lnTo>
                  <a:pt x="1270" y="20"/>
                </a:lnTo>
                <a:lnTo>
                  <a:pt x="1270" y="20"/>
                </a:lnTo>
                <a:lnTo>
                  <a:pt x="1388" y="432"/>
                </a:lnTo>
                <a:lnTo>
                  <a:pt x="1388" y="432"/>
                </a:lnTo>
                <a:lnTo>
                  <a:pt x="1408" y="504"/>
                </a:lnTo>
                <a:lnTo>
                  <a:pt x="1430" y="574"/>
                </a:lnTo>
                <a:lnTo>
                  <a:pt x="1430" y="574"/>
                </a:lnTo>
                <a:lnTo>
                  <a:pt x="1432" y="584"/>
                </a:lnTo>
                <a:lnTo>
                  <a:pt x="1430" y="588"/>
                </a:lnTo>
                <a:lnTo>
                  <a:pt x="1428" y="590"/>
                </a:lnTo>
                <a:lnTo>
                  <a:pt x="1422" y="594"/>
                </a:lnTo>
                <a:lnTo>
                  <a:pt x="1412" y="594"/>
                </a:lnTo>
                <a:lnTo>
                  <a:pt x="1412" y="594"/>
                </a:lnTo>
                <a:lnTo>
                  <a:pt x="1038" y="594"/>
                </a:lnTo>
                <a:lnTo>
                  <a:pt x="1038" y="594"/>
                </a:lnTo>
                <a:lnTo>
                  <a:pt x="816" y="594"/>
                </a:lnTo>
                <a:lnTo>
                  <a:pt x="816" y="594"/>
                </a:lnTo>
                <a:lnTo>
                  <a:pt x="806" y="594"/>
                </a:lnTo>
                <a:lnTo>
                  <a:pt x="800" y="598"/>
                </a:lnTo>
                <a:lnTo>
                  <a:pt x="796" y="604"/>
                </a:lnTo>
                <a:lnTo>
                  <a:pt x="796" y="614"/>
                </a:lnTo>
                <a:lnTo>
                  <a:pt x="796" y="614"/>
                </a:lnTo>
                <a:lnTo>
                  <a:pt x="796" y="674"/>
                </a:lnTo>
                <a:lnTo>
                  <a:pt x="796" y="732"/>
                </a:lnTo>
                <a:lnTo>
                  <a:pt x="796" y="732"/>
                </a:lnTo>
                <a:lnTo>
                  <a:pt x="796" y="742"/>
                </a:lnTo>
                <a:lnTo>
                  <a:pt x="800" y="748"/>
                </a:lnTo>
                <a:lnTo>
                  <a:pt x="806" y="750"/>
                </a:lnTo>
                <a:lnTo>
                  <a:pt x="814" y="752"/>
                </a:lnTo>
                <a:lnTo>
                  <a:pt x="814" y="752"/>
                </a:lnTo>
                <a:lnTo>
                  <a:pt x="876" y="752"/>
                </a:lnTo>
                <a:lnTo>
                  <a:pt x="936" y="750"/>
                </a:lnTo>
                <a:lnTo>
                  <a:pt x="936" y="750"/>
                </a:lnTo>
                <a:lnTo>
                  <a:pt x="946" y="752"/>
                </a:lnTo>
                <a:lnTo>
                  <a:pt x="952" y="754"/>
                </a:lnTo>
                <a:lnTo>
                  <a:pt x="956" y="760"/>
                </a:lnTo>
                <a:lnTo>
                  <a:pt x="956" y="770"/>
                </a:lnTo>
                <a:lnTo>
                  <a:pt x="956" y="770"/>
                </a:lnTo>
                <a:lnTo>
                  <a:pt x="956" y="894"/>
                </a:lnTo>
                <a:lnTo>
                  <a:pt x="956" y="894"/>
                </a:lnTo>
                <a:lnTo>
                  <a:pt x="956" y="902"/>
                </a:lnTo>
                <a:lnTo>
                  <a:pt x="954" y="906"/>
                </a:lnTo>
                <a:lnTo>
                  <a:pt x="948" y="910"/>
                </a:lnTo>
                <a:lnTo>
                  <a:pt x="940" y="910"/>
                </a:lnTo>
                <a:lnTo>
                  <a:pt x="940" y="910"/>
                </a:lnTo>
                <a:lnTo>
                  <a:pt x="486" y="910"/>
                </a:lnTo>
                <a:lnTo>
                  <a:pt x="486" y="910"/>
                </a:lnTo>
                <a:lnTo>
                  <a:pt x="476" y="908"/>
                </a:lnTo>
                <a:lnTo>
                  <a:pt x="476" y="908"/>
                </a:lnTo>
                <a:close/>
                <a:moveTo>
                  <a:pt x="1140" y="514"/>
                </a:moveTo>
                <a:lnTo>
                  <a:pt x="1140" y="514"/>
                </a:lnTo>
                <a:lnTo>
                  <a:pt x="1140" y="514"/>
                </a:lnTo>
                <a:lnTo>
                  <a:pt x="1140" y="514"/>
                </a:lnTo>
                <a:lnTo>
                  <a:pt x="1300" y="514"/>
                </a:lnTo>
                <a:lnTo>
                  <a:pt x="1300" y="514"/>
                </a:lnTo>
                <a:lnTo>
                  <a:pt x="1310" y="512"/>
                </a:lnTo>
                <a:lnTo>
                  <a:pt x="1316" y="510"/>
                </a:lnTo>
                <a:lnTo>
                  <a:pt x="1318" y="504"/>
                </a:lnTo>
                <a:lnTo>
                  <a:pt x="1316" y="494"/>
                </a:lnTo>
                <a:lnTo>
                  <a:pt x="1316" y="494"/>
                </a:lnTo>
                <a:lnTo>
                  <a:pt x="1266" y="294"/>
                </a:lnTo>
                <a:lnTo>
                  <a:pt x="1266" y="294"/>
                </a:lnTo>
                <a:lnTo>
                  <a:pt x="1262" y="286"/>
                </a:lnTo>
                <a:lnTo>
                  <a:pt x="1256" y="282"/>
                </a:lnTo>
                <a:lnTo>
                  <a:pt x="1250" y="280"/>
                </a:lnTo>
                <a:lnTo>
                  <a:pt x="1242" y="280"/>
                </a:lnTo>
                <a:lnTo>
                  <a:pt x="1242" y="280"/>
                </a:lnTo>
                <a:lnTo>
                  <a:pt x="962" y="280"/>
                </a:lnTo>
                <a:lnTo>
                  <a:pt x="962" y="280"/>
                </a:lnTo>
                <a:lnTo>
                  <a:pt x="950" y="282"/>
                </a:lnTo>
                <a:lnTo>
                  <a:pt x="948" y="282"/>
                </a:lnTo>
                <a:lnTo>
                  <a:pt x="944" y="286"/>
                </a:lnTo>
                <a:lnTo>
                  <a:pt x="942" y="292"/>
                </a:lnTo>
                <a:lnTo>
                  <a:pt x="942" y="302"/>
                </a:lnTo>
                <a:lnTo>
                  <a:pt x="942" y="302"/>
                </a:lnTo>
                <a:lnTo>
                  <a:pt x="954" y="398"/>
                </a:lnTo>
                <a:lnTo>
                  <a:pt x="962" y="494"/>
                </a:lnTo>
                <a:lnTo>
                  <a:pt x="962" y="494"/>
                </a:lnTo>
                <a:lnTo>
                  <a:pt x="964" y="504"/>
                </a:lnTo>
                <a:lnTo>
                  <a:pt x="968" y="510"/>
                </a:lnTo>
                <a:lnTo>
                  <a:pt x="976" y="512"/>
                </a:lnTo>
                <a:lnTo>
                  <a:pt x="986" y="514"/>
                </a:lnTo>
                <a:lnTo>
                  <a:pt x="986" y="514"/>
                </a:lnTo>
                <a:lnTo>
                  <a:pt x="1140" y="514"/>
                </a:lnTo>
                <a:lnTo>
                  <a:pt x="1140" y="514"/>
                </a:lnTo>
                <a:close/>
                <a:moveTo>
                  <a:pt x="708" y="514"/>
                </a:moveTo>
                <a:lnTo>
                  <a:pt x="708" y="514"/>
                </a:lnTo>
                <a:lnTo>
                  <a:pt x="708" y="514"/>
                </a:lnTo>
                <a:lnTo>
                  <a:pt x="708" y="514"/>
                </a:lnTo>
                <a:lnTo>
                  <a:pt x="858" y="514"/>
                </a:lnTo>
                <a:lnTo>
                  <a:pt x="858" y="514"/>
                </a:lnTo>
                <a:lnTo>
                  <a:pt x="866" y="512"/>
                </a:lnTo>
                <a:lnTo>
                  <a:pt x="872" y="510"/>
                </a:lnTo>
                <a:lnTo>
                  <a:pt x="874" y="506"/>
                </a:lnTo>
                <a:lnTo>
                  <a:pt x="874" y="496"/>
                </a:lnTo>
                <a:lnTo>
                  <a:pt x="874" y="496"/>
                </a:lnTo>
                <a:lnTo>
                  <a:pt x="862" y="298"/>
                </a:lnTo>
                <a:lnTo>
                  <a:pt x="862" y="298"/>
                </a:lnTo>
                <a:lnTo>
                  <a:pt x="860" y="290"/>
                </a:lnTo>
                <a:lnTo>
                  <a:pt x="858" y="284"/>
                </a:lnTo>
                <a:lnTo>
                  <a:pt x="852" y="282"/>
                </a:lnTo>
                <a:lnTo>
                  <a:pt x="842" y="280"/>
                </a:lnTo>
                <a:lnTo>
                  <a:pt x="842" y="280"/>
                </a:lnTo>
                <a:lnTo>
                  <a:pt x="574" y="280"/>
                </a:lnTo>
                <a:lnTo>
                  <a:pt x="574" y="280"/>
                </a:lnTo>
                <a:lnTo>
                  <a:pt x="566" y="282"/>
                </a:lnTo>
                <a:lnTo>
                  <a:pt x="558" y="284"/>
                </a:lnTo>
                <a:lnTo>
                  <a:pt x="554" y="290"/>
                </a:lnTo>
                <a:lnTo>
                  <a:pt x="554" y="300"/>
                </a:lnTo>
                <a:lnTo>
                  <a:pt x="554" y="300"/>
                </a:lnTo>
                <a:lnTo>
                  <a:pt x="538" y="494"/>
                </a:lnTo>
                <a:lnTo>
                  <a:pt x="538" y="494"/>
                </a:lnTo>
                <a:lnTo>
                  <a:pt x="540" y="504"/>
                </a:lnTo>
                <a:lnTo>
                  <a:pt x="542" y="510"/>
                </a:lnTo>
                <a:lnTo>
                  <a:pt x="548" y="512"/>
                </a:lnTo>
                <a:lnTo>
                  <a:pt x="558" y="514"/>
                </a:lnTo>
                <a:lnTo>
                  <a:pt x="558" y="514"/>
                </a:lnTo>
                <a:lnTo>
                  <a:pt x="708" y="514"/>
                </a:lnTo>
                <a:lnTo>
                  <a:pt x="708" y="514"/>
                </a:lnTo>
                <a:close/>
                <a:moveTo>
                  <a:pt x="278" y="514"/>
                </a:moveTo>
                <a:lnTo>
                  <a:pt x="278" y="514"/>
                </a:lnTo>
                <a:lnTo>
                  <a:pt x="278" y="514"/>
                </a:lnTo>
                <a:lnTo>
                  <a:pt x="278" y="514"/>
                </a:lnTo>
                <a:lnTo>
                  <a:pt x="352" y="514"/>
                </a:lnTo>
                <a:lnTo>
                  <a:pt x="424" y="514"/>
                </a:lnTo>
                <a:lnTo>
                  <a:pt x="424" y="514"/>
                </a:lnTo>
                <a:lnTo>
                  <a:pt x="436" y="512"/>
                </a:lnTo>
                <a:lnTo>
                  <a:pt x="444" y="508"/>
                </a:lnTo>
                <a:lnTo>
                  <a:pt x="448" y="502"/>
                </a:lnTo>
                <a:lnTo>
                  <a:pt x="450" y="490"/>
                </a:lnTo>
                <a:lnTo>
                  <a:pt x="450" y="490"/>
                </a:lnTo>
                <a:lnTo>
                  <a:pt x="460" y="394"/>
                </a:lnTo>
                <a:lnTo>
                  <a:pt x="470" y="298"/>
                </a:lnTo>
                <a:lnTo>
                  <a:pt x="470" y="298"/>
                </a:lnTo>
                <a:lnTo>
                  <a:pt x="470" y="290"/>
                </a:lnTo>
                <a:lnTo>
                  <a:pt x="468" y="284"/>
                </a:lnTo>
                <a:lnTo>
                  <a:pt x="464" y="282"/>
                </a:lnTo>
                <a:lnTo>
                  <a:pt x="456" y="280"/>
                </a:lnTo>
                <a:lnTo>
                  <a:pt x="456" y="280"/>
                </a:lnTo>
                <a:lnTo>
                  <a:pt x="184" y="280"/>
                </a:lnTo>
                <a:lnTo>
                  <a:pt x="184" y="280"/>
                </a:lnTo>
                <a:lnTo>
                  <a:pt x="176" y="282"/>
                </a:lnTo>
                <a:lnTo>
                  <a:pt x="170" y="284"/>
                </a:lnTo>
                <a:lnTo>
                  <a:pt x="166" y="290"/>
                </a:lnTo>
                <a:lnTo>
                  <a:pt x="164" y="296"/>
                </a:lnTo>
                <a:lnTo>
                  <a:pt x="164" y="296"/>
                </a:lnTo>
                <a:lnTo>
                  <a:pt x="140" y="396"/>
                </a:lnTo>
                <a:lnTo>
                  <a:pt x="114" y="494"/>
                </a:lnTo>
                <a:lnTo>
                  <a:pt x="114" y="494"/>
                </a:lnTo>
                <a:lnTo>
                  <a:pt x="112" y="504"/>
                </a:lnTo>
                <a:lnTo>
                  <a:pt x="114" y="510"/>
                </a:lnTo>
                <a:lnTo>
                  <a:pt x="118" y="512"/>
                </a:lnTo>
                <a:lnTo>
                  <a:pt x="128" y="514"/>
                </a:lnTo>
                <a:lnTo>
                  <a:pt x="128" y="514"/>
                </a:lnTo>
                <a:lnTo>
                  <a:pt x="278" y="514"/>
                </a:lnTo>
                <a:lnTo>
                  <a:pt x="278" y="514"/>
                </a:lnTo>
                <a:close/>
                <a:moveTo>
                  <a:pt x="1092" y="220"/>
                </a:moveTo>
                <a:lnTo>
                  <a:pt x="1092" y="220"/>
                </a:lnTo>
                <a:lnTo>
                  <a:pt x="1230" y="220"/>
                </a:lnTo>
                <a:lnTo>
                  <a:pt x="1230" y="220"/>
                </a:lnTo>
                <a:lnTo>
                  <a:pt x="1238" y="220"/>
                </a:lnTo>
                <a:lnTo>
                  <a:pt x="1244" y="216"/>
                </a:lnTo>
                <a:lnTo>
                  <a:pt x="1246" y="212"/>
                </a:lnTo>
                <a:lnTo>
                  <a:pt x="1244" y="202"/>
                </a:lnTo>
                <a:lnTo>
                  <a:pt x="1244" y="202"/>
                </a:lnTo>
                <a:lnTo>
                  <a:pt x="1210" y="62"/>
                </a:lnTo>
                <a:lnTo>
                  <a:pt x="1210" y="62"/>
                </a:lnTo>
                <a:lnTo>
                  <a:pt x="1206" y="56"/>
                </a:lnTo>
                <a:lnTo>
                  <a:pt x="1202" y="52"/>
                </a:lnTo>
                <a:lnTo>
                  <a:pt x="1198" y="50"/>
                </a:lnTo>
                <a:lnTo>
                  <a:pt x="1194" y="48"/>
                </a:lnTo>
                <a:lnTo>
                  <a:pt x="1194" y="48"/>
                </a:lnTo>
                <a:lnTo>
                  <a:pt x="934" y="48"/>
                </a:lnTo>
                <a:lnTo>
                  <a:pt x="934" y="48"/>
                </a:lnTo>
                <a:lnTo>
                  <a:pt x="926" y="48"/>
                </a:lnTo>
                <a:lnTo>
                  <a:pt x="922" y="52"/>
                </a:lnTo>
                <a:lnTo>
                  <a:pt x="920" y="56"/>
                </a:lnTo>
                <a:lnTo>
                  <a:pt x="920" y="64"/>
                </a:lnTo>
                <a:lnTo>
                  <a:pt x="920" y="64"/>
                </a:lnTo>
                <a:lnTo>
                  <a:pt x="934" y="200"/>
                </a:lnTo>
                <a:lnTo>
                  <a:pt x="934" y="200"/>
                </a:lnTo>
                <a:lnTo>
                  <a:pt x="936" y="210"/>
                </a:lnTo>
                <a:lnTo>
                  <a:pt x="940" y="216"/>
                </a:lnTo>
                <a:lnTo>
                  <a:pt x="946" y="220"/>
                </a:lnTo>
                <a:lnTo>
                  <a:pt x="956" y="220"/>
                </a:lnTo>
                <a:lnTo>
                  <a:pt x="956" y="220"/>
                </a:lnTo>
                <a:lnTo>
                  <a:pt x="1092" y="220"/>
                </a:lnTo>
                <a:lnTo>
                  <a:pt x="1092" y="220"/>
                </a:lnTo>
                <a:close/>
                <a:moveTo>
                  <a:pt x="500" y="52"/>
                </a:moveTo>
                <a:lnTo>
                  <a:pt x="500" y="52"/>
                </a:lnTo>
                <a:lnTo>
                  <a:pt x="496" y="48"/>
                </a:lnTo>
                <a:lnTo>
                  <a:pt x="496" y="48"/>
                </a:lnTo>
                <a:lnTo>
                  <a:pt x="236" y="48"/>
                </a:lnTo>
                <a:lnTo>
                  <a:pt x="236" y="48"/>
                </a:lnTo>
                <a:lnTo>
                  <a:pt x="232" y="50"/>
                </a:lnTo>
                <a:lnTo>
                  <a:pt x="228" y="54"/>
                </a:lnTo>
                <a:lnTo>
                  <a:pt x="224" y="58"/>
                </a:lnTo>
                <a:lnTo>
                  <a:pt x="222" y="62"/>
                </a:lnTo>
                <a:lnTo>
                  <a:pt x="222" y="62"/>
                </a:lnTo>
                <a:lnTo>
                  <a:pt x="188" y="200"/>
                </a:lnTo>
                <a:lnTo>
                  <a:pt x="188" y="200"/>
                </a:lnTo>
                <a:lnTo>
                  <a:pt x="186" y="210"/>
                </a:lnTo>
                <a:lnTo>
                  <a:pt x="188" y="216"/>
                </a:lnTo>
                <a:lnTo>
                  <a:pt x="194" y="220"/>
                </a:lnTo>
                <a:lnTo>
                  <a:pt x="204" y="220"/>
                </a:lnTo>
                <a:lnTo>
                  <a:pt x="204" y="220"/>
                </a:lnTo>
                <a:lnTo>
                  <a:pt x="460" y="220"/>
                </a:lnTo>
                <a:lnTo>
                  <a:pt x="460" y="220"/>
                </a:lnTo>
                <a:lnTo>
                  <a:pt x="470" y="220"/>
                </a:lnTo>
                <a:lnTo>
                  <a:pt x="476" y="216"/>
                </a:lnTo>
                <a:lnTo>
                  <a:pt x="480" y="210"/>
                </a:lnTo>
                <a:lnTo>
                  <a:pt x="482" y="202"/>
                </a:lnTo>
                <a:lnTo>
                  <a:pt x="482" y="202"/>
                </a:lnTo>
                <a:lnTo>
                  <a:pt x="492" y="118"/>
                </a:lnTo>
                <a:lnTo>
                  <a:pt x="492" y="118"/>
                </a:lnTo>
                <a:lnTo>
                  <a:pt x="500" y="52"/>
                </a:lnTo>
                <a:lnTo>
                  <a:pt x="500" y="52"/>
                </a:lnTo>
                <a:close/>
                <a:moveTo>
                  <a:pt x="572" y="48"/>
                </a:moveTo>
                <a:lnTo>
                  <a:pt x="572" y="48"/>
                </a:lnTo>
                <a:lnTo>
                  <a:pt x="560" y="208"/>
                </a:lnTo>
                <a:lnTo>
                  <a:pt x="560" y="208"/>
                </a:lnTo>
                <a:lnTo>
                  <a:pt x="562" y="214"/>
                </a:lnTo>
                <a:lnTo>
                  <a:pt x="566" y="218"/>
                </a:lnTo>
                <a:lnTo>
                  <a:pt x="570" y="220"/>
                </a:lnTo>
                <a:lnTo>
                  <a:pt x="578" y="220"/>
                </a:lnTo>
                <a:lnTo>
                  <a:pt x="578" y="220"/>
                </a:lnTo>
                <a:lnTo>
                  <a:pt x="838" y="220"/>
                </a:lnTo>
                <a:lnTo>
                  <a:pt x="838" y="220"/>
                </a:lnTo>
                <a:lnTo>
                  <a:pt x="846" y="220"/>
                </a:lnTo>
                <a:lnTo>
                  <a:pt x="852" y="216"/>
                </a:lnTo>
                <a:lnTo>
                  <a:pt x="854" y="212"/>
                </a:lnTo>
                <a:lnTo>
                  <a:pt x="856" y="204"/>
                </a:lnTo>
                <a:lnTo>
                  <a:pt x="856" y="204"/>
                </a:lnTo>
                <a:lnTo>
                  <a:pt x="846" y="64"/>
                </a:lnTo>
                <a:lnTo>
                  <a:pt x="846" y="64"/>
                </a:lnTo>
                <a:lnTo>
                  <a:pt x="844" y="56"/>
                </a:lnTo>
                <a:lnTo>
                  <a:pt x="842" y="50"/>
                </a:lnTo>
                <a:lnTo>
                  <a:pt x="836" y="48"/>
                </a:lnTo>
                <a:lnTo>
                  <a:pt x="828" y="48"/>
                </a:lnTo>
                <a:lnTo>
                  <a:pt x="828" y="48"/>
                </a:lnTo>
                <a:lnTo>
                  <a:pt x="714" y="48"/>
                </a:lnTo>
                <a:lnTo>
                  <a:pt x="714" y="48"/>
                </a:lnTo>
                <a:lnTo>
                  <a:pt x="572" y="48"/>
                </a:lnTo>
                <a:lnTo>
                  <a:pt x="572" y="48"/>
                </a:lnTo>
                <a:close/>
              </a:path>
            </a:pathLst>
          </a:custGeom>
          <a:solidFill>
            <a:srgbClr val="BBE5BD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45 Light"/>
              <a:ea typeface="+mn-ea"/>
              <a:cs typeface="+mn-cs"/>
            </a:endParaRPr>
          </a:p>
        </p:txBody>
      </p:sp>
      <p:sp>
        <p:nvSpPr>
          <p:cNvPr id="30" name="Segnaposto testo 6">
            <a:extLst>
              <a:ext uri="{FF2B5EF4-FFF2-40B4-BE49-F238E27FC236}">
                <a16:creationId xmlns:a16="http://schemas.microsoft.com/office/drawing/2014/main" id="{32068A92-F8F8-CB01-ABE0-73E3D4982176}"/>
              </a:ext>
            </a:extLst>
          </p:cNvPr>
          <p:cNvSpPr txBox="1">
            <a:spLocks/>
          </p:cNvSpPr>
          <p:nvPr/>
        </p:nvSpPr>
        <p:spPr>
          <a:xfrm>
            <a:off x="3599019" y="4041110"/>
            <a:ext cx="747165" cy="25123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/>
              <a:buNone/>
              <a:tabLst>
                <a:tab pos="1057275" algn="l"/>
              </a:tabLst>
              <a:defRPr/>
            </a:pPr>
            <a:r>
              <a:rPr lang="it-IT" sz="1400" b="1" i="1" dirty="0">
                <a:solidFill>
                  <a:schemeClr val="accent6">
                    <a:lumMod val="75000"/>
                  </a:schemeClr>
                </a:solidFill>
                <a:latin typeface="Calibri" panose="020F0502020204030204"/>
              </a:rPr>
              <a:t>+17 GW</a:t>
            </a:r>
            <a:endParaRPr kumimoji="0" lang="it-IT" sz="1400" b="1" i="1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Segnaposto testo 6">
            <a:extLst>
              <a:ext uri="{FF2B5EF4-FFF2-40B4-BE49-F238E27FC236}">
                <a16:creationId xmlns:a16="http://schemas.microsoft.com/office/drawing/2014/main" id="{19ACEB12-C957-A4FD-EAFD-310E7072BBC8}"/>
              </a:ext>
            </a:extLst>
          </p:cNvPr>
          <p:cNvSpPr txBox="1">
            <a:spLocks/>
          </p:cNvSpPr>
          <p:nvPr/>
        </p:nvSpPr>
        <p:spPr>
          <a:xfrm>
            <a:off x="3586738" y="5173595"/>
            <a:ext cx="747165" cy="25123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/>
              <a:buNone/>
              <a:tabLst>
                <a:tab pos="1057275" algn="l"/>
              </a:tabLst>
              <a:defRPr/>
            </a:pPr>
            <a:r>
              <a:rPr lang="it-IT" sz="1400" b="1" i="1" dirty="0">
                <a:solidFill>
                  <a:schemeClr val="accent6">
                    <a:lumMod val="75000"/>
                  </a:schemeClr>
                </a:solidFill>
                <a:latin typeface="Calibri" panose="020F0502020204030204"/>
              </a:rPr>
              <a:t>+57 GW</a:t>
            </a:r>
            <a:endParaRPr kumimoji="0" lang="it-IT" sz="1400" b="1" i="1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CasellaDiTesto 31">
            <a:extLst>
              <a:ext uri="{FF2B5EF4-FFF2-40B4-BE49-F238E27FC236}">
                <a16:creationId xmlns:a16="http://schemas.microsoft.com/office/drawing/2014/main" id="{CD1FF9AA-71D2-94F6-E1B6-8675356EA524}"/>
              </a:ext>
            </a:extLst>
          </p:cNvPr>
          <p:cNvSpPr txBox="1"/>
          <p:nvPr/>
        </p:nvSpPr>
        <p:spPr>
          <a:xfrm flipH="1">
            <a:off x="221665" y="167317"/>
            <a:ext cx="12085837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1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Le informazioni e i dati di seguito riportati costituiscono informazioni riservate e confidenziali </a:t>
            </a:r>
            <a:r>
              <a:rPr kumimoji="0" lang="it-IT" sz="1050" b="1" i="1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che in alcun modo potranno essere utilizzate, divulgate a terzi ovvero formare oggetto di studi, comunicati stampa o annunci pubblici</a:t>
            </a:r>
            <a:r>
              <a:rPr kumimoji="0" lang="it-IT" sz="1050" b="0" i="1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senza in preventivo consenso scritto di Enel.</a:t>
            </a:r>
          </a:p>
        </p:txBody>
      </p:sp>
    </p:spTree>
    <p:extLst>
      <p:ext uri="{BB962C8B-B14F-4D97-AF65-F5344CB8AC3E}">
        <p14:creationId xmlns:p14="http://schemas.microsoft.com/office/powerpoint/2010/main" val="38606847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360" imgH="360" progId="TCLayout.ActiveDocument.1">
                  <p:embed/>
                </p:oleObj>
              </mc:Choice>
              <mc:Fallback>
                <p:oleObj name="Diapositiva think-cell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7" name="Slide Number Placeholder 6">
            <a:extLst>
              <a:ext uri="{FF2B5EF4-FFF2-40B4-BE49-F238E27FC236}">
                <a16:creationId xmlns:a16="http://schemas.microsoft.com/office/drawing/2014/main" id="{421DD8D5-6B8F-CC22-C696-9621DA6178D5}"/>
              </a:ext>
            </a:extLst>
          </p:cNvPr>
          <p:cNvSpPr txBox="1">
            <a:spLocks/>
          </p:cNvSpPr>
          <p:nvPr/>
        </p:nvSpPr>
        <p:spPr>
          <a:xfrm>
            <a:off x="11333974" y="6628920"/>
            <a:ext cx="762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lnSpc>
                <a:spcPct val="90000"/>
              </a:lnSpc>
              <a:defRPr sz="1000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D2235E-0982-3B42-A838-A74550CD4449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44" name="Connettore 1 4">
            <a:extLst>
              <a:ext uri="{FF2B5EF4-FFF2-40B4-BE49-F238E27FC236}">
                <a16:creationId xmlns:a16="http://schemas.microsoft.com/office/drawing/2014/main" id="{8E2BD705-CDF7-17E8-798A-59892775C191}"/>
              </a:ext>
            </a:extLst>
          </p:cNvPr>
          <p:cNvCxnSpPr>
            <a:cxnSpLocks/>
          </p:cNvCxnSpPr>
          <p:nvPr/>
        </p:nvCxnSpPr>
        <p:spPr>
          <a:xfrm>
            <a:off x="4838191" y="2204371"/>
            <a:ext cx="29317" cy="2072701"/>
          </a:xfrm>
          <a:prstGeom prst="line">
            <a:avLst/>
          </a:prstGeom>
          <a:ln w="28575">
            <a:solidFill>
              <a:srgbClr val="1D9C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1" name="Grafico 150">
            <a:extLst>
              <a:ext uri="{FF2B5EF4-FFF2-40B4-BE49-F238E27FC236}">
                <a16:creationId xmlns:a16="http://schemas.microsoft.com/office/drawing/2014/main" id="{D0B5D897-F917-CB78-5662-89DF580E96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74299700"/>
              </p:ext>
            </p:extLst>
          </p:nvPr>
        </p:nvGraphicFramePr>
        <p:xfrm>
          <a:off x="827778" y="2434522"/>
          <a:ext cx="9985109" cy="3177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59" name="Rettangolo 158">
            <a:extLst>
              <a:ext uri="{FF2B5EF4-FFF2-40B4-BE49-F238E27FC236}">
                <a16:creationId xmlns:a16="http://schemas.microsoft.com/office/drawing/2014/main" id="{8B8A664E-FB36-C575-2758-990A537E731C}"/>
              </a:ext>
            </a:extLst>
          </p:cNvPr>
          <p:cNvSpPr/>
          <p:nvPr/>
        </p:nvSpPr>
        <p:spPr>
          <a:xfrm>
            <a:off x="4848468" y="2112995"/>
            <a:ext cx="474358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54">
              <a:defRPr/>
            </a:pPr>
            <a:r>
              <a:rPr lang="en-US" sz="1400" b="1" dirty="0">
                <a:solidFill>
                  <a:srgbClr val="00B050"/>
                </a:solidFill>
                <a:latin typeface="Arial"/>
              </a:rPr>
              <a:t>S</a:t>
            </a:r>
            <a:r>
              <a:rPr kumimoji="0" lang="en-US" sz="1400" b="1" i="0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me di </a:t>
            </a:r>
            <a:r>
              <a:rPr kumimoji="0" lang="en-US" sz="1400" b="1" i="0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ettricità</a:t>
            </a:r>
            <a:r>
              <a:rPr kumimoji="0" lang="en-US" sz="1400" b="1" i="0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utura </a:t>
            </a:r>
            <a:r>
              <a:rPr kumimoji="0" lang="en-US" sz="1400" i="0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lative </a:t>
            </a:r>
            <a:r>
              <a:rPr kumimoji="0" lang="en-US" sz="1400" i="0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lo</a:t>
            </a:r>
            <a:r>
              <a:rPr kumimoji="0" lang="en-US" sz="1400" i="0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cenario RES 2030</a:t>
            </a:r>
            <a:r>
              <a:rPr lang="en-US" sz="1400" b="1" dirty="0">
                <a:solidFill>
                  <a:srgbClr val="00B050"/>
                </a:solidFill>
              </a:rPr>
              <a:t> in </a:t>
            </a:r>
            <a:r>
              <a:rPr lang="en-US" sz="1400" b="1" dirty="0" err="1">
                <a:solidFill>
                  <a:srgbClr val="00B050"/>
                </a:solidFill>
              </a:rPr>
              <a:t>merito</a:t>
            </a:r>
            <a:r>
              <a:rPr lang="en-US" sz="1400" b="1" dirty="0">
                <a:solidFill>
                  <a:srgbClr val="00B050"/>
                </a:solidFill>
              </a:rPr>
              <a:t> </a:t>
            </a:r>
            <a:r>
              <a:rPr lang="en-US" sz="1400" b="1" dirty="0" err="1">
                <a:solidFill>
                  <a:srgbClr val="00B050"/>
                </a:solidFill>
              </a:rPr>
              <a:t>agli</a:t>
            </a:r>
            <a:r>
              <a:rPr lang="en-US" sz="1400" b="1" dirty="0">
                <a:solidFill>
                  <a:srgbClr val="00B050"/>
                </a:solidFill>
              </a:rPr>
              <a:t> </a:t>
            </a:r>
            <a:r>
              <a:rPr lang="en-US" sz="1400" b="1" dirty="0" err="1">
                <a:solidFill>
                  <a:srgbClr val="00B050"/>
                </a:solidFill>
              </a:rPr>
              <a:t>obiettivi</a:t>
            </a:r>
            <a:r>
              <a:rPr lang="en-US" sz="1400" b="1" dirty="0">
                <a:solidFill>
                  <a:srgbClr val="00B050"/>
                </a:solidFill>
              </a:rPr>
              <a:t> di </a:t>
            </a:r>
            <a:r>
              <a:rPr lang="en-US" sz="1400" b="1" dirty="0" err="1">
                <a:solidFill>
                  <a:srgbClr val="00B050"/>
                </a:solidFill>
              </a:rPr>
              <a:t>transizione</a:t>
            </a:r>
            <a:r>
              <a:rPr lang="en-US" sz="1400" b="1" dirty="0">
                <a:solidFill>
                  <a:srgbClr val="00B050"/>
                </a:solidFill>
              </a:rPr>
              <a:t> </a:t>
            </a:r>
            <a:r>
              <a:rPr lang="en-US" sz="1400" b="1" dirty="0" err="1">
                <a:solidFill>
                  <a:srgbClr val="00B050"/>
                </a:solidFill>
              </a:rPr>
              <a:t>energetica</a:t>
            </a:r>
            <a:r>
              <a:rPr lang="en-US" sz="1400" b="1" dirty="0">
                <a:solidFill>
                  <a:srgbClr val="00B050"/>
                </a:solidFill>
              </a:rPr>
              <a:t> del </a:t>
            </a:r>
            <a:r>
              <a:rPr lang="en-US" sz="1400" b="1" dirty="0" err="1">
                <a:solidFill>
                  <a:srgbClr val="00B050"/>
                </a:solidFill>
              </a:rPr>
              <a:t>Paese</a:t>
            </a:r>
            <a:r>
              <a:rPr lang="en-US" sz="1400" b="1" dirty="0">
                <a:solidFill>
                  <a:srgbClr val="00B050"/>
                </a:solidFill>
              </a:rPr>
              <a:t> </a:t>
            </a:r>
            <a:r>
              <a:rPr lang="en-US" sz="1400" dirty="0">
                <a:solidFill>
                  <a:srgbClr val="00B050"/>
                </a:solidFill>
              </a:rPr>
              <a:t>e </a:t>
            </a:r>
            <a:r>
              <a:rPr kumimoji="0" lang="en-US" sz="1400" i="0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lativa</a:t>
            </a:r>
            <a:r>
              <a:rPr kumimoji="0" lang="en-US" sz="1400" i="0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i="0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ima</a:t>
            </a:r>
            <a:r>
              <a:rPr kumimoji="0" lang="en-US" sz="1400" i="0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1" i="0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ccupazione</a:t>
            </a:r>
            <a:r>
              <a:rPr lang="en-US" sz="1400" b="1" dirty="0">
                <a:solidFill>
                  <a:srgbClr val="00B050"/>
                </a:solidFill>
                <a:latin typeface="Arial"/>
              </a:rPr>
              <a:t> del </a:t>
            </a:r>
            <a:r>
              <a:rPr lang="en-US" sz="1400" b="1" dirty="0" err="1">
                <a:solidFill>
                  <a:srgbClr val="00B050"/>
                </a:solidFill>
                <a:latin typeface="Arial"/>
              </a:rPr>
              <a:t>suolo</a:t>
            </a:r>
            <a:r>
              <a:rPr kumimoji="0" lang="en-US" sz="1400" b="1" i="0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i="0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la</a:t>
            </a:r>
            <a:r>
              <a:rPr kumimoji="0" lang="en-US" sz="1400" i="0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i="0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acità</a:t>
            </a:r>
            <a:r>
              <a:rPr kumimoji="0" lang="en-US" sz="1400" i="0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V </a:t>
            </a:r>
            <a:r>
              <a:rPr kumimoji="0" lang="en-US" sz="1400" i="0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innovabile</a:t>
            </a:r>
            <a:r>
              <a:rPr kumimoji="0" lang="en-US" sz="1400" i="0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i="0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dizionale</a:t>
            </a:r>
            <a:r>
              <a:rPr kumimoji="0" lang="en-US" sz="1400" i="0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US" sz="1400" b="1" i="0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8" name="Titolo 1">
            <a:extLst>
              <a:ext uri="{FF2B5EF4-FFF2-40B4-BE49-F238E27FC236}">
                <a16:creationId xmlns:a16="http://schemas.microsoft.com/office/drawing/2014/main" id="{9ABF27E5-3959-0A08-95BA-3273E039AFBE}"/>
              </a:ext>
            </a:extLst>
          </p:cNvPr>
          <p:cNvSpPr txBox="1">
            <a:spLocks/>
          </p:cNvSpPr>
          <p:nvPr/>
        </p:nvSpPr>
        <p:spPr>
          <a:xfrm>
            <a:off x="606365" y="4994557"/>
            <a:ext cx="11324378" cy="14117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>
              <a:defRPr lang="it-IT" sz="2400" b="0" kern="1200" dirty="0">
                <a:solidFill>
                  <a:srgbClr val="24509A"/>
                </a:solidFill>
                <a:latin typeface="Arial"/>
                <a:ea typeface="+mn-ea"/>
                <a:cs typeface="Arial"/>
              </a:defRPr>
            </a:lvl1pPr>
          </a:lstStyle>
          <a:p>
            <a:pPr lvl="0" algn="just" defTabSz="121914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tabLst>
                <a:tab pos="1057222" algn="l"/>
              </a:tabLst>
              <a:defRPr/>
            </a:pP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la </a:t>
            </a:r>
            <a:r>
              <a:rPr lang="it-IT" sz="1600" dirty="0">
                <a:solidFill>
                  <a:prstClr val="black"/>
                </a:solidFill>
              </a:rPr>
              <a:t>superficie </a:t>
            </a: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necessaria allo sviluppo di </a:t>
            </a:r>
            <a:r>
              <a:rPr kumimoji="0" lang="it-IT" sz="160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nuova capacità rinnovabile del Sistema Paese </a:t>
            </a: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è </a:t>
            </a:r>
            <a:r>
              <a:rPr lang="it-IT" sz="1600" dirty="0">
                <a:solidFill>
                  <a:prstClr val="black"/>
                </a:solidFill>
              </a:rPr>
              <a:t>limitata</a:t>
            </a: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se raffrontata all’attuale utilizzo del suolo</a:t>
            </a:r>
            <a:r>
              <a:rPr lang="it-IT" sz="1600" dirty="0">
                <a:solidFill>
                  <a:prstClr val="black"/>
                </a:solidFill>
              </a:rPr>
              <a:t>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(es. meno di un terzo del suolo dedicato a piazzali/parcheggi) </a:t>
            </a:r>
          </a:p>
          <a:p>
            <a:pPr lvl="0" algn="just" defTabSz="121914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tabLst>
                <a:tab pos="1057222" algn="l"/>
              </a:tabLst>
              <a:defRPr/>
            </a:pP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Nell’ipotesi solo teorica di utilizzo esclusivo di terreni agricoli per la realizzazione della nuova capacità rinnovabile, l’impiego del suolo agricolo che ne deriverebbe </a:t>
            </a:r>
            <a:r>
              <a:rPr kumimoji="0" lang="it-IT" sz="160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e’</a:t>
            </a: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stimata pari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a meno dello 0,</a:t>
            </a:r>
            <a:r>
              <a:rPr lang="it-IT" sz="1600" b="1" dirty="0">
                <a:solidFill>
                  <a:schemeClr val="tx1"/>
                </a:solidFill>
              </a:rPr>
              <a:t>5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% della superficie agricola nazionale*</a:t>
            </a:r>
          </a:p>
          <a:p>
            <a:pPr lvl="0" defTabSz="121914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tabLst>
                <a:tab pos="1057222" algn="l"/>
              </a:tabLst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41" name="Rettangolo 240">
            <a:extLst>
              <a:ext uri="{FF2B5EF4-FFF2-40B4-BE49-F238E27FC236}">
                <a16:creationId xmlns:a16="http://schemas.microsoft.com/office/drawing/2014/main" id="{AF14B486-1514-95BC-6E24-ABE086CB17CC}"/>
              </a:ext>
            </a:extLst>
          </p:cNvPr>
          <p:cNvSpPr/>
          <p:nvPr/>
        </p:nvSpPr>
        <p:spPr>
          <a:xfrm>
            <a:off x="155998" y="4821994"/>
            <a:ext cx="11939975" cy="1526543"/>
          </a:xfrm>
          <a:prstGeom prst="rect">
            <a:avLst/>
          </a:prstGeom>
          <a:noFill/>
          <a:ln w="317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6" name="Titolo 1">
            <a:extLst>
              <a:ext uri="{FF2B5EF4-FFF2-40B4-BE49-F238E27FC236}">
                <a16:creationId xmlns:a16="http://schemas.microsoft.com/office/drawing/2014/main" id="{8D17C6C2-7990-614A-E5B2-E665AEF10563}"/>
              </a:ext>
            </a:extLst>
          </p:cNvPr>
          <p:cNvSpPr txBox="1">
            <a:spLocks/>
          </p:cNvSpPr>
          <p:nvPr/>
        </p:nvSpPr>
        <p:spPr>
          <a:xfrm>
            <a:off x="804167" y="691196"/>
            <a:ext cx="9572552" cy="3600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>
              <a:defRPr lang="it-IT" sz="2400" b="0" kern="1200" dirty="0">
                <a:solidFill>
                  <a:srgbClr val="24509A"/>
                </a:solidFill>
                <a:latin typeface="Arial"/>
                <a:ea typeface="+mn-ea"/>
                <a:cs typeface="Arial"/>
              </a:defRPr>
            </a:lvl1pPr>
          </a:lstStyle>
          <a:p>
            <a:pPr lvl="0" defTabSz="121914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tabLst>
                <a:tab pos="1057222" algn="l"/>
              </a:tabLst>
              <a:defRPr/>
            </a:pPr>
            <a:r>
              <a:rPr lang="it-IT" sz="2800" b="1" dirty="0">
                <a:solidFill>
                  <a:prstClr val="black"/>
                </a:solidFill>
              </a:rPr>
              <a:t>Stime impiego di suolo </a:t>
            </a:r>
            <a:endParaRPr kumimoji="0" lang="it-IT" sz="2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47" name="Rettangolo 246">
            <a:extLst>
              <a:ext uri="{FF2B5EF4-FFF2-40B4-BE49-F238E27FC236}">
                <a16:creationId xmlns:a16="http://schemas.microsoft.com/office/drawing/2014/main" id="{20EF5649-38B8-1E5A-B4F2-76070989A2A1}"/>
              </a:ext>
            </a:extLst>
          </p:cNvPr>
          <p:cNvSpPr/>
          <p:nvPr/>
        </p:nvSpPr>
        <p:spPr>
          <a:xfrm>
            <a:off x="743151" y="1015957"/>
            <a:ext cx="8610049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1057222" algn="l"/>
              </a:tabLst>
              <a:defRPr/>
            </a:pPr>
            <a:r>
              <a:rPr kumimoji="0" lang="it-IT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viluppo nuova capacità rinnovabile vs superfici totali </a:t>
            </a:r>
            <a:r>
              <a:rPr lang="it-IT" dirty="0">
                <a:solidFill>
                  <a:prstClr val="black"/>
                </a:solidFill>
                <a:latin typeface="Arial"/>
              </a:rPr>
              <a:t>impiegate</a:t>
            </a:r>
            <a:r>
              <a:rPr kumimoji="0" lang="it-IT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alle infrastrutture</a:t>
            </a: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9" name="CasellaDiTesto 248">
            <a:extLst>
              <a:ext uri="{FF2B5EF4-FFF2-40B4-BE49-F238E27FC236}">
                <a16:creationId xmlns:a16="http://schemas.microsoft.com/office/drawing/2014/main" id="{FCCB75B1-7197-0EE4-2EFE-DB2A2FC84FA4}"/>
              </a:ext>
            </a:extLst>
          </p:cNvPr>
          <p:cNvSpPr txBox="1"/>
          <p:nvPr/>
        </p:nvSpPr>
        <p:spPr>
          <a:xfrm>
            <a:off x="106162" y="6664544"/>
            <a:ext cx="11880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it-IT"/>
            </a:defPPr>
            <a:lvl1pPr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kern="0" dirty="0">
                <a:solidFill>
                  <a:srgbClr val="FFFFFF">
                    <a:lumMod val="50000"/>
                  </a:srgbClr>
                </a:solidFill>
                <a:latin typeface="Arial"/>
              </a:rPr>
              <a:t>* Source: Stima </a:t>
            </a:r>
            <a:r>
              <a:rPr lang="en-US" sz="1050" kern="0" dirty="0" err="1">
                <a:solidFill>
                  <a:srgbClr val="FFFFFF">
                    <a:lumMod val="50000"/>
                  </a:srgbClr>
                </a:solidFill>
                <a:latin typeface="Arial"/>
              </a:rPr>
              <a:t>Elettricità</a:t>
            </a:r>
            <a:r>
              <a:rPr lang="en-US" sz="1050" kern="0" dirty="0">
                <a:solidFill>
                  <a:srgbClr val="FFFFFF">
                    <a:lumMod val="50000"/>
                  </a:srgbClr>
                </a:solidFill>
                <a:latin typeface="Arial"/>
              </a:rPr>
              <a:t> Futura 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BF311DF1-0D9D-9A3C-692F-1276BD71905D}"/>
              </a:ext>
            </a:extLst>
          </p:cNvPr>
          <p:cNvSpPr txBox="1"/>
          <p:nvPr/>
        </p:nvSpPr>
        <p:spPr>
          <a:xfrm flipH="1">
            <a:off x="106162" y="136652"/>
            <a:ext cx="12085837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1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Le informazioni e i dati di seguito riportati costituiscono informazioni confidenziali </a:t>
            </a:r>
            <a:r>
              <a:rPr kumimoji="0" lang="it-IT" sz="1050" b="1" i="1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che in alcun modo potranno essere utilizzate, divulgate a terzi ovvero formare oggetto di studi, comunicati stampa o annunci pubblici</a:t>
            </a:r>
            <a:endParaRPr kumimoji="0" lang="it-IT" sz="1050" b="0" i="1" u="sng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 151">
            <a:extLst>
              <a:ext uri="{FF2B5EF4-FFF2-40B4-BE49-F238E27FC236}">
                <a16:creationId xmlns:a16="http://schemas.microsoft.com/office/drawing/2014/main" id="{6E992CBA-DE5A-F284-6039-1E46B528B5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592" y="797847"/>
            <a:ext cx="358172" cy="370467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46638" rIns="36000" bIns="46638" rtlCol="0" anchor="ctr">
            <a:no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bg1"/>
                </a:solidFill>
                <a:latin typeface="+mn-lt"/>
              </a:rPr>
              <a:t>2</a:t>
            </a:r>
          </a:p>
        </p:txBody>
      </p:sp>
      <p:sp>
        <p:nvSpPr>
          <p:cNvPr id="7" name="Rectangle 151">
            <a:extLst>
              <a:ext uri="{FF2B5EF4-FFF2-40B4-BE49-F238E27FC236}">
                <a16:creationId xmlns:a16="http://schemas.microsoft.com/office/drawing/2014/main" id="{D1ED83BE-8E43-8B48-14CA-FA2F853859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068" y="5087109"/>
            <a:ext cx="216000" cy="216000"/>
          </a:xfrm>
          <a:prstGeom prst="ellipse">
            <a:avLst/>
          </a:prstGeom>
          <a:solidFill>
            <a:srgbClr val="00B050"/>
          </a:solidFill>
          <a:ln w="28575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46638" rIns="36000" bIns="46638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angle 151">
            <a:extLst>
              <a:ext uri="{FF2B5EF4-FFF2-40B4-BE49-F238E27FC236}">
                <a16:creationId xmlns:a16="http://schemas.microsoft.com/office/drawing/2014/main" id="{63201EFD-BE0E-3568-94E1-BC7A362118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182" y="5723587"/>
            <a:ext cx="216000" cy="216000"/>
          </a:xfrm>
          <a:prstGeom prst="ellipse">
            <a:avLst/>
          </a:prstGeom>
          <a:solidFill>
            <a:srgbClr val="00B050"/>
          </a:solidFill>
          <a:ln w="28575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46638" rIns="36000" bIns="46638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Picture 4" descr="TerraClean for engine decarbonisation in Bristol">
            <a:extLst>
              <a:ext uri="{FF2B5EF4-FFF2-40B4-BE49-F238E27FC236}">
                <a16:creationId xmlns:a16="http://schemas.microsoft.com/office/drawing/2014/main" id="{FFF020B0-D301-AD85-1308-C9723CF729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3555" y="2153664"/>
            <a:ext cx="594659" cy="476201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54044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57A839-AB7F-9D2A-420F-C6DBED13CF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787327D0-41DD-661E-364A-CB32A444F330}"/>
              </a:ext>
            </a:extLst>
          </p:cNvPr>
          <p:cNvSpPr txBox="1"/>
          <p:nvPr/>
        </p:nvSpPr>
        <p:spPr>
          <a:xfrm>
            <a:off x="340678" y="1793863"/>
            <a:ext cx="11433628" cy="468076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342900" marR="0" lvl="0" indent="-168275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>
                  <a:lumMod val="5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l Paese ha bisogno di </a:t>
            </a:r>
            <a:r>
              <a:rPr kumimoji="0" lang="it-IT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muovere lo sviluppo rinnovabile in varie forme, tra cui il fotovoltaico anche su aree agricole, </a:t>
            </a: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 il raggiungimento degli </a:t>
            </a:r>
            <a:r>
              <a:rPr kumimoji="0" lang="it-IT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biettivi di decarbonizzazione</a:t>
            </a: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>
                  <a:lumMod val="5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it-IT" sz="15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1682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>
                  <a:lumMod val="5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 numeri dimostrano che lo sviluppo di nuova capacità rinnovabile per raggiungere gli obiettivi di transizione energetica del Paese al 2030 non rappresenta una criticità </a:t>
            </a: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 termini di uso del</a:t>
            </a:r>
            <a:r>
              <a:rPr kumimoji="0" lang="it-IT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suolo </a:t>
            </a: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it-IT" sz="15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mpiego</a:t>
            </a: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otenziale pari a  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~ </a:t>
            </a:r>
            <a:r>
              <a:rPr kumimoji="0" lang="it-IT" sz="1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0,</a:t>
            </a:r>
            <a:r>
              <a:rPr lang="it-IT" sz="1500" i="1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kumimoji="0" lang="it-IT" sz="1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% del territorio italiano). </a:t>
            </a: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>
                  <a:lumMod val="5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it-IT" sz="15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1682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>
                  <a:lumMod val="5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’</a:t>
            </a:r>
            <a:r>
              <a:rPr kumimoji="0" lang="it-IT" sz="15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grivoltaico</a:t>
            </a:r>
            <a:r>
              <a:rPr kumimoji="0" lang="it-IT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uò consentire la convivenza tra agricoltura e produzione di energia sostenibile </a:t>
            </a: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 può rappresentare una </a:t>
            </a:r>
            <a:r>
              <a:rPr kumimoji="0" lang="it-IT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nte integrativa di reddito per gli agricoltori, consentendo di supportare attività spesso altrimenti a rischio 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>
                  <a:lumMod val="5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it-IT" sz="15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1682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90"/>
              </a:spcAft>
              <a:buClr>
                <a:schemeClr val="accent1">
                  <a:lumMod val="5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’</a:t>
            </a:r>
            <a:r>
              <a:rPr kumimoji="0" lang="it-IT" sz="15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grivoltaico</a:t>
            </a:r>
            <a:r>
              <a:rPr kumimoji="0" lang="it-IT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è già una realtà per il Gruppo Enel, nel mondo ed in Italia.</a:t>
            </a:r>
          </a:p>
          <a:p>
            <a:pPr marL="342900" marR="0" lvl="0" indent="-1682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90"/>
              </a:spcAft>
              <a:buClr>
                <a:schemeClr val="accent1">
                  <a:lumMod val="5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’utilizzo dei modelli </a:t>
            </a:r>
            <a:r>
              <a:rPr kumimoji="0" lang="it-IT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grivoltaici</a:t>
            </a: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it-IT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«Standard» e «Sopra-elevato» sono entrambi virtuosi. </a:t>
            </a:r>
            <a:endParaRPr kumimoji="0" lang="it-IT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1682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uello «Standard»</a:t>
            </a: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in particolare, </a:t>
            </a:r>
            <a:r>
              <a:rPr kumimoji="0" lang="it-IT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a contemplato al pari di quello «Sopra-elevato»</a:t>
            </a: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in quanto:</a:t>
            </a:r>
          </a:p>
          <a:p>
            <a:pPr marL="800100" marR="0" lvl="1" indent="-1778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>
                  <a:lumMod val="50000"/>
                </a:schemeClr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it-IT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iuga agricoltura e produzione elettrica decarbonizzata,</a:t>
            </a: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it-IT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reando opportunità per gli agricoltori</a:t>
            </a:r>
          </a:p>
          <a:p>
            <a:pPr marL="800100" marR="0" lvl="1" indent="-1778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>
                  <a:lumMod val="50000"/>
                </a:schemeClr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it-IT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è già sperimentato su scale importanti</a:t>
            </a:r>
            <a:endParaRPr kumimoji="0" lang="it-IT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800100" marR="0" lvl="1" indent="-1778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>
                  <a:lumMod val="50000"/>
                </a:schemeClr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it-IT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on </a:t>
            </a:r>
            <a:r>
              <a:rPr lang="it-IT" sz="1500" b="1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è strettamente dipendente da</a:t>
            </a:r>
            <a:r>
              <a:rPr kumimoji="0" lang="it-IT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incentivi</a:t>
            </a:r>
            <a:endParaRPr kumimoji="0" lang="it-IT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Segnaposto numero diapositiva 3">
            <a:extLst>
              <a:ext uri="{FF2B5EF4-FFF2-40B4-BE49-F238E27FC236}">
                <a16:creationId xmlns:a16="http://schemas.microsoft.com/office/drawing/2014/main" id="{2A9C4307-305B-B491-A673-1A40517F42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0000" y="6704112"/>
            <a:ext cx="762000" cy="153888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D2235E-0982-3B42-A838-A74550CD4449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itolo 1">
            <a:extLst>
              <a:ext uri="{FF2B5EF4-FFF2-40B4-BE49-F238E27FC236}">
                <a16:creationId xmlns:a16="http://schemas.microsoft.com/office/drawing/2014/main" id="{01FE87CE-A93D-7556-ECDA-DA7DC61A1D24}"/>
              </a:ext>
            </a:extLst>
          </p:cNvPr>
          <p:cNvSpPr txBox="1">
            <a:spLocks/>
          </p:cNvSpPr>
          <p:nvPr/>
        </p:nvSpPr>
        <p:spPr>
          <a:xfrm>
            <a:off x="761999" y="670121"/>
            <a:ext cx="9423992" cy="39498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Modelli di «</a:t>
            </a:r>
            <a:r>
              <a:rPr kumimoji="0" lang="it-IT" sz="28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agrivoltaico</a:t>
            </a: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»</a:t>
            </a:r>
          </a:p>
        </p:txBody>
      </p:sp>
      <p:sp>
        <p:nvSpPr>
          <p:cNvPr id="7" name="Segnaposto testo 4">
            <a:extLst>
              <a:ext uri="{FF2B5EF4-FFF2-40B4-BE49-F238E27FC236}">
                <a16:creationId xmlns:a16="http://schemas.microsoft.com/office/drawing/2014/main" id="{FF28927D-BDE4-88EF-423A-DA00286E9A41}"/>
              </a:ext>
            </a:extLst>
          </p:cNvPr>
          <p:cNvSpPr txBox="1">
            <a:spLocks/>
          </p:cNvSpPr>
          <p:nvPr/>
        </p:nvSpPr>
        <p:spPr>
          <a:xfrm>
            <a:off x="761998" y="1085366"/>
            <a:ext cx="9972000" cy="276999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800" dirty="0">
                <a:latin typeface="+mj-lt"/>
                <a:cs typeface="Arial"/>
              </a:rPr>
              <a:t>Considerazioni</a:t>
            </a:r>
          </a:p>
        </p:txBody>
      </p:sp>
      <p:sp>
        <p:nvSpPr>
          <p:cNvPr id="3" name="Rectangle 151">
            <a:extLst>
              <a:ext uri="{FF2B5EF4-FFF2-40B4-BE49-F238E27FC236}">
                <a16:creationId xmlns:a16="http://schemas.microsoft.com/office/drawing/2014/main" id="{23F6577F-19BE-F615-D95B-90816DDA1B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592" y="797847"/>
            <a:ext cx="358172" cy="370467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46638" rIns="36000" bIns="46638" rtlCol="0" anchor="ctr">
            <a:no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bg1"/>
                </a:solidFill>
                <a:latin typeface="+mn-lt"/>
              </a:rPr>
              <a:t>3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15DA4CE1-8498-330E-185F-91BB4AE1215A}"/>
              </a:ext>
            </a:extLst>
          </p:cNvPr>
          <p:cNvSpPr txBox="1"/>
          <p:nvPr/>
        </p:nvSpPr>
        <p:spPr>
          <a:xfrm flipH="1">
            <a:off x="106162" y="136652"/>
            <a:ext cx="12085837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1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Le informazioni e i dati di seguito riportati costituiscono informazioni confidenziali </a:t>
            </a:r>
            <a:r>
              <a:rPr kumimoji="0" lang="it-IT" sz="1050" b="1" i="1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che in alcun modo potranno essere utilizzate, divulgate a terzi ovvero formare oggetto di studi, comunicati stampa o annunci pubblici</a:t>
            </a:r>
            <a:endParaRPr kumimoji="0" lang="it-IT" sz="1050" b="0" i="1" u="sng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 151">
            <a:extLst>
              <a:ext uri="{FF2B5EF4-FFF2-40B4-BE49-F238E27FC236}">
                <a16:creationId xmlns:a16="http://schemas.microsoft.com/office/drawing/2014/main" id="{B2A8749B-6FE9-30E0-0F33-386706B8CD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764" y="2040309"/>
            <a:ext cx="216000" cy="216000"/>
          </a:xfrm>
          <a:prstGeom prst="ellipse">
            <a:avLst/>
          </a:prstGeom>
          <a:solidFill>
            <a:srgbClr val="00B050"/>
          </a:solidFill>
          <a:ln w="28575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46638" rIns="36000" bIns="46638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angle 151">
            <a:extLst>
              <a:ext uri="{FF2B5EF4-FFF2-40B4-BE49-F238E27FC236}">
                <a16:creationId xmlns:a16="http://schemas.microsoft.com/office/drawing/2014/main" id="{DE8A9F57-81C1-8225-2D6F-1A28CB8062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764" y="2773858"/>
            <a:ext cx="216000" cy="216000"/>
          </a:xfrm>
          <a:prstGeom prst="ellipse">
            <a:avLst/>
          </a:prstGeom>
          <a:solidFill>
            <a:srgbClr val="00B050"/>
          </a:solidFill>
          <a:ln w="28575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46638" rIns="36000" bIns="46638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151">
            <a:extLst>
              <a:ext uri="{FF2B5EF4-FFF2-40B4-BE49-F238E27FC236}">
                <a16:creationId xmlns:a16="http://schemas.microsoft.com/office/drawing/2014/main" id="{25BE8AC4-3565-6B5A-C2ED-2064D942EC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764" y="3482355"/>
            <a:ext cx="216000" cy="216000"/>
          </a:xfrm>
          <a:prstGeom prst="ellipse">
            <a:avLst/>
          </a:prstGeom>
          <a:solidFill>
            <a:srgbClr val="00B050"/>
          </a:solidFill>
          <a:ln w="28575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46638" rIns="36000" bIns="46638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51">
            <a:extLst>
              <a:ext uri="{FF2B5EF4-FFF2-40B4-BE49-F238E27FC236}">
                <a16:creationId xmlns:a16="http://schemas.microsoft.com/office/drawing/2014/main" id="{D3E73538-3845-1734-B34F-CEB24E4C29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764" y="4129853"/>
            <a:ext cx="216000" cy="216000"/>
          </a:xfrm>
          <a:prstGeom prst="ellipse">
            <a:avLst/>
          </a:prstGeom>
          <a:solidFill>
            <a:srgbClr val="00B050"/>
          </a:solidFill>
          <a:ln w="28575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46638" rIns="36000" bIns="46638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51">
            <a:extLst>
              <a:ext uri="{FF2B5EF4-FFF2-40B4-BE49-F238E27FC236}">
                <a16:creationId xmlns:a16="http://schemas.microsoft.com/office/drawing/2014/main" id="{1B48D012-B996-A962-55C6-CBE6E33908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764" y="4755402"/>
            <a:ext cx="216000" cy="216000"/>
          </a:xfrm>
          <a:prstGeom prst="ellipse">
            <a:avLst/>
          </a:prstGeom>
          <a:solidFill>
            <a:srgbClr val="00B050"/>
          </a:solidFill>
          <a:ln w="28575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46638" rIns="36000" bIns="46638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tangle 151">
            <a:extLst>
              <a:ext uri="{FF2B5EF4-FFF2-40B4-BE49-F238E27FC236}">
                <a16:creationId xmlns:a16="http://schemas.microsoft.com/office/drawing/2014/main" id="{53A01F04-9D46-283B-0D04-6BA885E3B0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764" y="5272951"/>
            <a:ext cx="216000" cy="216000"/>
          </a:xfrm>
          <a:prstGeom prst="ellipse">
            <a:avLst/>
          </a:prstGeom>
          <a:solidFill>
            <a:srgbClr val="00B050"/>
          </a:solidFill>
          <a:ln w="28575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46638" rIns="36000" bIns="46638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36029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444" imgH="446" progId="TCLayout.ActiveDocument.1">
                  <p:embed/>
                </p:oleObj>
              </mc:Choice>
              <mc:Fallback>
                <p:oleObj name="Diapositiva think-cell" r:id="rId5" imgW="444" imgH="446" progId="TCLayout.ActiveDocument.1">
                  <p:embed/>
                  <p:pic>
                    <p:nvPicPr>
                      <p:cNvPr id="3" name="Ogget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tangolo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5778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it-IT" sz="2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7" name="Titolo 1">
            <a:extLst>
              <a:ext uri="{FF2B5EF4-FFF2-40B4-BE49-F238E27FC236}">
                <a16:creationId xmlns:a16="http://schemas.microsoft.com/office/drawing/2014/main" id="{CAAEBD95-47E0-C35A-4C62-64351DD4F328}"/>
              </a:ext>
            </a:extLst>
          </p:cNvPr>
          <p:cNvSpPr txBox="1">
            <a:spLocks/>
          </p:cNvSpPr>
          <p:nvPr/>
        </p:nvSpPr>
        <p:spPr>
          <a:xfrm>
            <a:off x="762000" y="1125526"/>
            <a:ext cx="8375651" cy="21320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7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35" name="CasellaDiTesto 34">
            <a:extLst>
              <a:ext uri="{FF2B5EF4-FFF2-40B4-BE49-F238E27FC236}">
                <a16:creationId xmlns:a16="http://schemas.microsoft.com/office/drawing/2014/main" id="{1FF9979D-CEC9-F950-89F1-27872F05E635}"/>
              </a:ext>
            </a:extLst>
          </p:cNvPr>
          <p:cNvSpPr txBox="1"/>
          <p:nvPr/>
        </p:nvSpPr>
        <p:spPr>
          <a:xfrm>
            <a:off x="4389186" y="5943942"/>
            <a:ext cx="7322178" cy="8186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just" defTabSz="914377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pportunità di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valorizzazione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lle </a:t>
            </a:r>
            <a:r>
              <a:rPr kumimoji="0" lang="it-IT" sz="1600" b="1" i="1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xpertise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locali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,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quali ad esempio,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gronomi, agricoltori, imprese locali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;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upporto di Università/Centri Studi/Ricerca per attività di sperimentazione e test</a:t>
            </a:r>
          </a:p>
        </p:txBody>
      </p:sp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2F55BBC6-BEB2-FF86-63AC-27B7C28BB316}"/>
              </a:ext>
            </a:extLst>
          </p:cNvPr>
          <p:cNvSpPr txBox="1"/>
          <p:nvPr/>
        </p:nvSpPr>
        <p:spPr>
          <a:xfrm>
            <a:off x="4411655" y="4233794"/>
            <a:ext cx="7307839" cy="8186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just" defTabSz="914377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odello virtuoso ed eco-sostenibile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he consente di produrre, laddove ne sussistano le condizioni,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nergia pulita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ntegrata ad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ttività agricola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valorizzando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la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io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-diversità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l’ecosistema</a:t>
            </a: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9" name="Rectangle 151">
            <a:extLst>
              <a:ext uri="{FF2B5EF4-FFF2-40B4-BE49-F238E27FC236}">
                <a16:creationId xmlns:a16="http://schemas.microsoft.com/office/drawing/2014/main" id="{530F8D3E-5992-7A90-BFE2-E32898BC7D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76066" y="4489595"/>
            <a:ext cx="216000" cy="216000"/>
          </a:xfrm>
          <a:prstGeom prst="ellipse">
            <a:avLst/>
          </a:prstGeom>
          <a:solidFill>
            <a:srgbClr val="00B050"/>
          </a:solidFill>
          <a:ln w="28575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46638" rIns="36000" bIns="46638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Titolo 1">
            <a:extLst>
              <a:ext uri="{FF2B5EF4-FFF2-40B4-BE49-F238E27FC236}">
                <a16:creationId xmlns:a16="http://schemas.microsoft.com/office/drawing/2014/main" id="{0D7ACA9F-D883-5F95-F75C-145CCEE030DA}"/>
              </a:ext>
            </a:extLst>
          </p:cNvPr>
          <p:cNvSpPr txBox="1">
            <a:spLocks/>
          </p:cNvSpPr>
          <p:nvPr/>
        </p:nvSpPr>
        <p:spPr>
          <a:xfrm>
            <a:off x="762000" y="1125526"/>
            <a:ext cx="8375651" cy="21320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7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42" name="CasellaDiTesto 41">
            <a:extLst>
              <a:ext uri="{FF2B5EF4-FFF2-40B4-BE49-F238E27FC236}">
                <a16:creationId xmlns:a16="http://schemas.microsoft.com/office/drawing/2014/main" id="{961C8E5D-0297-B8F6-429F-F2BDD69CF1B0}"/>
              </a:ext>
            </a:extLst>
          </p:cNvPr>
          <p:cNvSpPr txBox="1"/>
          <p:nvPr/>
        </p:nvSpPr>
        <p:spPr>
          <a:xfrm>
            <a:off x="4429385" y="5253680"/>
            <a:ext cx="7272377" cy="5379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just" defTabSz="914377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ocus sul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erritorio specifico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, attraverso attività di studio, sperimentazione e implementazione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«</a:t>
            </a:r>
            <a:r>
              <a:rPr kumimoji="0" lang="it-IT" sz="1600" b="1" i="1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aylor</a:t>
            </a:r>
            <a:r>
              <a:rPr kumimoji="0" lang="it-IT" sz="1600" b="1" i="1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made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» sulla singola iniziativa</a:t>
            </a:r>
          </a:p>
        </p:txBody>
      </p:sp>
      <p:sp>
        <p:nvSpPr>
          <p:cNvPr id="11" name="Segnaposto numero diapositiva 3">
            <a:extLst>
              <a:ext uri="{FF2B5EF4-FFF2-40B4-BE49-F238E27FC236}">
                <a16:creationId xmlns:a16="http://schemas.microsoft.com/office/drawing/2014/main" id="{CEA8FFD8-6B84-63BC-7B5F-7B6297E11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92726" y="6490248"/>
            <a:ext cx="762000" cy="153888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D2235E-0982-3B42-A838-A74550CD4449}" type="slidenum">
              <a:rPr kumimoji="0" lang="en-GB" sz="1050" b="0" i="0" u="none" strike="noStrike" kern="1200" cap="none" spc="0" normalizeH="0" baseline="0" noProof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itolo 1">
            <a:extLst>
              <a:ext uri="{FF2B5EF4-FFF2-40B4-BE49-F238E27FC236}">
                <a16:creationId xmlns:a16="http://schemas.microsoft.com/office/drawing/2014/main" id="{9F08B9F4-81D1-4A70-FFBB-85E9BDD67B21}"/>
              </a:ext>
            </a:extLst>
          </p:cNvPr>
          <p:cNvSpPr txBox="1">
            <a:spLocks/>
          </p:cNvSpPr>
          <p:nvPr/>
        </p:nvSpPr>
        <p:spPr>
          <a:xfrm>
            <a:off x="781434" y="1155689"/>
            <a:ext cx="8792224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1057222" algn="l"/>
              </a:tabLst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Connubio virtuoso</a:t>
            </a:r>
            <a:endParaRPr kumimoji="0" lang="it-IT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6" name="Titolo 1">
            <a:extLst>
              <a:ext uri="{FF2B5EF4-FFF2-40B4-BE49-F238E27FC236}">
                <a16:creationId xmlns:a16="http://schemas.microsoft.com/office/drawing/2014/main" id="{BE558D66-B6A2-5238-3798-E3D11ECDABFC}"/>
              </a:ext>
            </a:extLst>
          </p:cNvPr>
          <p:cNvSpPr txBox="1">
            <a:spLocks/>
          </p:cNvSpPr>
          <p:nvPr/>
        </p:nvSpPr>
        <p:spPr>
          <a:xfrm>
            <a:off x="762000" y="670122"/>
            <a:ext cx="9076063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Modelli di «</a:t>
            </a:r>
            <a:r>
              <a:rPr kumimoji="0" lang="it-IT" sz="24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agrivoltaico</a:t>
            </a: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»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F106DBD9-2E96-4873-2911-0FD63AAA0169}"/>
              </a:ext>
            </a:extLst>
          </p:cNvPr>
          <p:cNvSpPr txBox="1"/>
          <p:nvPr/>
        </p:nvSpPr>
        <p:spPr>
          <a:xfrm flipH="1">
            <a:off x="106162" y="136652"/>
            <a:ext cx="12085837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1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Le informazioni e i dati di seguito riportati costituiscono informazioni confidenziali </a:t>
            </a:r>
            <a:r>
              <a:rPr kumimoji="0" lang="it-IT" sz="1050" b="1" i="1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che in alcun modo potranno essere utilizzate, divulgate a terzi ovvero formare oggetto di studi, comunicati stampa o annunci pubblici</a:t>
            </a:r>
            <a:endParaRPr kumimoji="0" lang="it-IT" sz="1050" b="0" i="1" u="sng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" name="Gruppo 6">
            <a:extLst>
              <a:ext uri="{FF2B5EF4-FFF2-40B4-BE49-F238E27FC236}">
                <a16:creationId xmlns:a16="http://schemas.microsoft.com/office/drawing/2014/main" id="{6891F7D4-74E5-2A99-75D1-EC3FF8E07C62}"/>
              </a:ext>
            </a:extLst>
          </p:cNvPr>
          <p:cNvGrpSpPr/>
          <p:nvPr/>
        </p:nvGrpSpPr>
        <p:grpSpPr>
          <a:xfrm>
            <a:off x="837959" y="3965335"/>
            <a:ext cx="2269254" cy="2482808"/>
            <a:chOff x="8179571" y="2906030"/>
            <a:chExt cx="2705801" cy="3366205"/>
          </a:xfrm>
        </p:grpSpPr>
        <p:sp>
          <p:nvSpPr>
            <p:cNvPr id="8" name="Forma 7">
              <a:extLst>
                <a:ext uri="{FF2B5EF4-FFF2-40B4-BE49-F238E27FC236}">
                  <a16:creationId xmlns:a16="http://schemas.microsoft.com/office/drawing/2014/main" id="{1DBAA211-4543-017E-DDC8-CC9F1ED1A1D5}"/>
                </a:ext>
              </a:extLst>
            </p:cNvPr>
            <p:cNvSpPr/>
            <p:nvPr/>
          </p:nvSpPr>
          <p:spPr>
            <a:xfrm>
              <a:off x="8179571" y="2906030"/>
              <a:ext cx="2239763" cy="2240103"/>
            </a:xfrm>
            <a:prstGeom prst="leftCircularArrow">
              <a:avLst>
                <a:gd name="adj1" fmla="val 10980"/>
                <a:gd name="adj2" fmla="val 1142322"/>
                <a:gd name="adj3" fmla="val 6300000"/>
                <a:gd name="adj4" fmla="val 18900000"/>
                <a:gd name="adj5" fmla="val 12500"/>
              </a:avLst>
            </a:prstGeom>
            <a:solidFill>
              <a:schemeClr val="accent6">
                <a:lumMod val="60000"/>
                <a:lumOff val="4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>
              <a:defPPr>
                <a:defRPr lang="it-I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t-IT"/>
            </a:p>
          </p:txBody>
        </p:sp>
        <p:sp>
          <p:nvSpPr>
            <p:cNvPr id="9" name="Figura a mano libera: forma 8">
              <a:extLst>
                <a:ext uri="{FF2B5EF4-FFF2-40B4-BE49-F238E27FC236}">
                  <a16:creationId xmlns:a16="http://schemas.microsoft.com/office/drawing/2014/main" id="{801158F4-BDD5-6429-7CEC-BF334547C03C}"/>
                </a:ext>
              </a:extLst>
            </p:cNvPr>
            <p:cNvSpPr/>
            <p:nvPr/>
          </p:nvSpPr>
          <p:spPr>
            <a:xfrm>
              <a:off x="8539473" y="3669332"/>
              <a:ext cx="1471395" cy="622147"/>
            </a:xfrm>
            <a:custGeom>
              <a:avLst/>
              <a:gdLst>
                <a:gd name="connsiteX0" fmla="*/ 0 w 1471395"/>
                <a:gd name="connsiteY0" fmla="*/ 0 h 622147"/>
                <a:gd name="connsiteX1" fmla="*/ 1471395 w 1471395"/>
                <a:gd name="connsiteY1" fmla="*/ 0 h 622147"/>
                <a:gd name="connsiteX2" fmla="*/ 1471395 w 1471395"/>
                <a:gd name="connsiteY2" fmla="*/ 622147 h 622147"/>
                <a:gd name="connsiteX3" fmla="*/ 0 w 1471395"/>
                <a:gd name="connsiteY3" fmla="*/ 622147 h 622147"/>
                <a:gd name="connsiteX4" fmla="*/ 0 w 1471395"/>
                <a:gd name="connsiteY4" fmla="*/ 0 h 622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1395" h="622147">
                  <a:moveTo>
                    <a:pt x="0" y="0"/>
                  </a:moveTo>
                  <a:lnTo>
                    <a:pt x="1471395" y="0"/>
                  </a:lnTo>
                  <a:lnTo>
                    <a:pt x="1471395" y="622147"/>
                  </a:lnTo>
                  <a:lnTo>
                    <a:pt x="0" y="62214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890" tIns="8890" rIns="8890" bIns="8890" numCol="1" spcCol="1270" anchor="ctr" anchorCtr="0">
              <a:noAutofit/>
            </a:bodyPr>
            <a:lstStyle>
              <a:defPPr>
                <a:defRPr lang="it-IT"/>
              </a:defPPr>
              <a:lvl1pPr marL="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alorizzazione </a:t>
              </a:r>
            </a:p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iodiversità</a:t>
              </a:r>
            </a:p>
          </p:txBody>
        </p:sp>
        <p:sp>
          <p:nvSpPr>
            <p:cNvPr id="10" name="Arco a tutto sesto 9">
              <a:extLst>
                <a:ext uri="{FF2B5EF4-FFF2-40B4-BE49-F238E27FC236}">
                  <a16:creationId xmlns:a16="http://schemas.microsoft.com/office/drawing/2014/main" id="{94E7E602-7438-028B-C9D8-D4883B17951C}"/>
                </a:ext>
              </a:extLst>
            </p:cNvPr>
            <p:cNvSpPr/>
            <p:nvPr/>
          </p:nvSpPr>
          <p:spPr>
            <a:xfrm>
              <a:off x="8961069" y="4347161"/>
              <a:ext cx="1924303" cy="1925074"/>
            </a:xfrm>
            <a:prstGeom prst="blockArc">
              <a:avLst>
                <a:gd name="adj1" fmla="val 13500000"/>
                <a:gd name="adj2" fmla="val 10800000"/>
                <a:gd name="adj3" fmla="val 12740"/>
              </a:avLst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>
              <a:defPPr>
                <a:defRPr lang="it-I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t-IT"/>
            </a:p>
          </p:txBody>
        </p:sp>
        <p:sp>
          <p:nvSpPr>
            <p:cNvPr id="13" name="Figura a mano libera: forma 12">
              <a:extLst>
                <a:ext uri="{FF2B5EF4-FFF2-40B4-BE49-F238E27FC236}">
                  <a16:creationId xmlns:a16="http://schemas.microsoft.com/office/drawing/2014/main" id="{0164C035-7FA7-7318-8BB2-8FB86E0A7A99}"/>
                </a:ext>
              </a:extLst>
            </p:cNvPr>
            <p:cNvSpPr/>
            <p:nvPr/>
          </p:nvSpPr>
          <p:spPr>
            <a:xfrm>
              <a:off x="9259730" y="5018634"/>
              <a:ext cx="1324458" cy="622147"/>
            </a:xfrm>
            <a:custGeom>
              <a:avLst/>
              <a:gdLst>
                <a:gd name="connsiteX0" fmla="*/ 0 w 1324458"/>
                <a:gd name="connsiteY0" fmla="*/ 0 h 622147"/>
                <a:gd name="connsiteX1" fmla="*/ 1324458 w 1324458"/>
                <a:gd name="connsiteY1" fmla="*/ 0 h 622147"/>
                <a:gd name="connsiteX2" fmla="*/ 1324458 w 1324458"/>
                <a:gd name="connsiteY2" fmla="*/ 622147 h 622147"/>
                <a:gd name="connsiteX3" fmla="*/ 0 w 1324458"/>
                <a:gd name="connsiteY3" fmla="*/ 622147 h 622147"/>
                <a:gd name="connsiteX4" fmla="*/ 0 w 1324458"/>
                <a:gd name="connsiteY4" fmla="*/ 0 h 622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4458" h="622147">
                  <a:moveTo>
                    <a:pt x="0" y="0"/>
                  </a:moveTo>
                  <a:lnTo>
                    <a:pt x="1324458" y="0"/>
                  </a:lnTo>
                  <a:lnTo>
                    <a:pt x="1324458" y="622147"/>
                  </a:lnTo>
                  <a:lnTo>
                    <a:pt x="0" y="62214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890" tIns="8890" rIns="8890" bIns="8890" numCol="1" spcCol="1270" anchor="ctr" anchorCtr="0">
              <a:noAutofit/>
            </a:bodyPr>
            <a:lstStyle>
              <a:defPPr>
                <a:defRPr lang="it-IT"/>
              </a:defPPr>
              <a:lvl1pPr marL="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alorizzazione expertise locali</a:t>
              </a:r>
            </a:p>
          </p:txBody>
        </p:sp>
      </p:grpSp>
      <p:sp>
        <p:nvSpPr>
          <p:cNvPr id="14" name="Rectangle 151">
            <a:extLst>
              <a:ext uri="{FF2B5EF4-FFF2-40B4-BE49-F238E27FC236}">
                <a16:creationId xmlns:a16="http://schemas.microsoft.com/office/drawing/2014/main" id="{2D4CF4AE-5C41-B126-9998-91367B8ADD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60239" y="5486311"/>
            <a:ext cx="216000" cy="216000"/>
          </a:xfrm>
          <a:prstGeom prst="ellipse">
            <a:avLst/>
          </a:prstGeom>
          <a:solidFill>
            <a:srgbClr val="00B050"/>
          </a:solidFill>
          <a:ln w="28575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46638" rIns="36000" bIns="46638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51">
            <a:extLst>
              <a:ext uri="{FF2B5EF4-FFF2-40B4-BE49-F238E27FC236}">
                <a16:creationId xmlns:a16="http://schemas.microsoft.com/office/drawing/2014/main" id="{6C7407DA-0BA0-E494-B420-69F8926A17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61421" y="6274248"/>
            <a:ext cx="216000" cy="216000"/>
          </a:xfrm>
          <a:prstGeom prst="ellipse">
            <a:avLst/>
          </a:prstGeom>
          <a:solidFill>
            <a:srgbClr val="00B050"/>
          </a:solidFill>
          <a:ln w="28575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46638" rIns="36000" bIns="46638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1" name="Gruppo 20">
            <a:extLst>
              <a:ext uri="{FF2B5EF4-FFF2-40B4-BE49-F238E27FC236}">
                <a16:creationId xmlns:a16="http://schemas.microsoft.com/office/drawing/2014/main" id="{12940A4E-000D-CDEB-A849-A3EED1114C13}"/>
              </a:ext>
            </a:extLst>
          </p:cNvPr>
          <p:cNvGrpSpPr/>
          <p:nvPr/>
        </p:nvGrpSpPr>
        <p:grpSpPr>
          <a:xfrm>
            <a:off x="7514455" y="1272840"/>
            <a:ext cx="3030479" cy="1652229"/>
            <a:chOff x="8081144" y="2310880"/>
            <a:chExt cx="2587364" cy="1410641"/>
          </a:xfrm>
        </p:grpSpPr>
        <p:pic>
          <p:nvPicPr>
            <p:cNvPr id="24" name="Immagine 23" descr="Immagine che contiene erba, cielo, esterni&#10;&#10;Descrizione generata automaticamente">
              <a:extLst>
                <a:ext uri="{FF2B5EF4-FFF2-40B4-BE49-F238E27FC236}">
                  <a16:creationId xmlns:a16="http://schemas.microsoft.com/office/drawing/2014/main" id="{3EA78A7D-BBD2-9E08-EF06-B880AB9ED7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081144" y="2335131"/>
              <a:ext cx="2587364" cy="1386390"/>
            </a:xfrm>
            <a:prstGeom prst="rect">
              <a:avLst/>
            </a:prstGeom>
          </p:spPr>
        </p:pic>
        <p:sp>
          <p:nvSpPr>
            <p:cNvPr id="26" name="CasellaDiTesto 44">
              <a:extLst>
                <a:ext uri="{FF2B5EF4-FFF2-40B4-BE49-F238E27FC236}">
                  <a16:creationId xmlns:a16="http://schemas.microsoft.com/office/drawing/2014/main" id="{176490BD-6792-7B30-3D5B-00D6FE1325F5}"/>
                </a:ext>
              </a:extLst>
            </p:cNvPr>
            <p:cNvSpPr txBox="1"/>
            <p:nvPr/>
          </p:nvSpPr>
          <p:spPr>
            <a:xfrm>
              <a:off x="8174824" y="2310880"/>
              <a:ext cx="2350002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it-I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ltivazioni fra le file di pannelli</a:t>
              </a:r>
            </a:p>
          </p:txBody>
        </p:sp>
      </p:grpSp>
      <p:grpSp>
        <p:nvGrpSpPr>
          <p:cNvPr id="28" name="Gruppo 27">
            <a:extLst>
              <a:ext uri="{FF2B5EF4-FFF2-40B4-BE49-F238E27FC236}">
                <a16:creationId xmlns:a16="http://schemas.microsoft.com/office/drawing/2014/main" id="{39E6F493-627C-C0AC-AD1B-E7F8FB829287}"/>
              </a:ext>
            </a:extLst>
          </p:cNvPr>
          <p:cNvGrpSpPr/>
          <p:nvPr/>
        </p:nvGrpSpPr>
        <p:grpSpPr>
          <a:xfrm>
            <a:off x="249004" y="1729174"/>
            <a:ext cx="3956119" cy="1932194"/>
            <a:chOff x="8561358" y="985540"/>
            <a:chExt cx="3079531" cy="1386390"/>
          </a:xfrm>
        </p:grpSpPr>
        <p:pic>
          <p:nvPicPr>
            <p:cNvPr id="36" name="Immagine 35" descr="Immagine che contiene erba, cielo, esterni, campo&#10;&#10;Descrizione generata automaticamente">
              <a:extLst>
                <a:ext uri="{FF2B5EF4-FFF2-40B4-BE49-F238E27FC236}">
                  <a16:creationId xmlns:a16="http://schemas.microsoft.com/office/drawing/2014/main" id="{65DDAE06-7FAA-26C9-894F-9FA1ED8D482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61358" y="985540"/>
              <a:ext cx="3079531" cy="1386390"/>
            </a:xfrm>
            <a:prstGeom prst="rect">
              <a:avLst/>
            </a:prstGeom>
          </p:spPr>
        </p:pic>
        <p:sp>
          <p:nvSpPr>
            <p:cNvPr id="41" name="CasellaDiTesto 30">
              <a:extLst>
                <a:ext uri="{FF2B5EF4-FFF2-40B4-BE49-F238E27FC236}">
                  <a16:creationId xmlns:a16="http://schemas.microsoft.com/office/drawing/2014/main" id="{2FAB6D31-38B4-51BB-3936-EAFC9CF28B20}"/>
                </a:ext>
              </a:extLst>
            </p:cNvPr>
            <p:cNvSpPr txBox="1"/>
            <p:nvPr/>
          </p:nvSpPr>
          <p:spPr>
            <a:xfrm>
              <a:off x="10704677" y="2094376"/>
              <a:ext cx="589905" cy="1846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it-I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scolo</a:t>
              </a:r>
            </a:p>
          </p:txBody>
        </p:sp>
      </p:grpSp>
      <p:grpSp>
        <p:nvGrpSpPr>
          <p:cNvPr id="44" name="Gruppo 43">
            <a:extLst>
              <a:ext uri="{FF2B5EF4-FFF2-40B4-BE49-F238E27FC236}">
                <a16:creationId xmlns:a16="http://schemas.microsoft.com/office/drawing/2014/main" id="{326B0164-A705-34E8-BF71-4F2E47DE6264}"/>
              </a:ext>
            </a:extLst>
          </p:cNvPr>
          <p:cNvGrpSpPr/>
          <p:nvPr/>
        </p:nvGrpSpPr>
        <p:grpSpPr>
          <a:xfrm>
            <a:off x="10207115" y="1878707"/>
            <a:ext cx="1968241" cy="2284005"/>
            <a:chOff x="10760462" y="2441333"/>
            <a:chExt cx="1411653" cy="1638124"/>
          </a:xfrm>
        </p:grpSpPr>
        <p:pic>
          <p:nvPicPr>
            <p:cNvPr id="45" name="Immagine 44" descr="Immagine che contiene erba, esterni, cielo, rotaie&#10;&#10;Descrizione generata automaticamente">
              <a:extLst>
                <a:ext uri="{FF2B5EF4-FFF2-40B4-BE49-F238E27FC236}">
                  <a16:creationId xmlns:a16="http://schemas.microsoft.com/office/drawing/2014/main" id="{69DCCF0A-6727-0B01-B33B-C5603BA2709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60462" y="2441333"/>
              <a:ext cx="1376743" cy="1160398"/>
            </a:xfrm>
            <a:prstGeom prst="rect">
              <a:avLst/>
            </a:prstGeom>
          </p:spPr>
        </p:pic>
        <p:sp>
          <p:nvSpPr>
            <p:cNvPr id="46" name="CasellaDiTesto 45">
              <a:extLst>
                <a:ext uri="{FF2B5EF4-FFF2-40B4-BE49-F238E27FC236}">
                  <a16:creationId xmlns:a16="http://schemas.microsoft.com/office/drawing/2014/main" id="{813DFBCB-D72A-13F8-A816-7C9CD3EC7725}"/>
                </a:ext>
              </a:extLst>
            </p:cNvPr>
            <p:cNvSpPr txBox="1"/>
            <p:nvPr/>
          </p:nvSpPr>
          <p:spPr>
            <a:xfrm>
              <a:off x="10879974" y="3710125"/>
              <a:ext cx="1292141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it-I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C6C6C6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ltivazioni sotto pannelli</a:t>
              </a:r>
            </a:p>
          </p:txBody>
        </p:sp>
        <p:sp>
          <p:nvSpPr>
            <p:cNvPr id="47" name="Triangolo isoscele 46">
              <a:extLst>
                <a:ext uri="{FF2B5EF4-FFF2-40B4-BE49-F238E27FC236}">
                  <a16:creationId xmlns:a16="http://schemas.microsoft.com/office/drawing/2014/main" id="{9D156CA0-5B8F-ECF0-8C59-02E3D91FC879}"/>
                </a:ext>
              </a:extLst>
            </p:cNvPr>
            <p:cNvSpPr/>
            <p:nvPr/>
          </p:nvSpPr>
          <p:spPr>
            <a:xfrm rot="10800000">
              <a:off x="11236320" y="3635599"/>
              <a:ext cx="431865" cy="94460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>
              <a:defPPr>
                <a:defRPr lang="it-I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C6C6C6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8" name="Gruppo 47">
            <a:extLst>
              <a:ext uri="{FF2B5EF4-FFF2-40B4-BE49-F238E27FC236}">
                <a16:creationId xmlns:a16="http://schemas.microsoft.com/office/drawing/2014/main" id="{BB688245-86A2-B880-7644-CD5C7B50FC48}"/>
              </a:ext>
            </a:extLst>
          </p:cNvPr>
          <p:cNvGrpSpPr/>
          <p:nvPr/>
        </p:nvGrpSpPr>
        <p:grpSpPr>
          <a:xfrm>
            <a:off x="3914840" y="2305641"/>
            <a:ext cx="3351192" cy="1791190"/>
            <a:chOff x="8066288" y="3773237"/>
            <a:chExt cx="2798233" cy="1495637"/>
          </a:xfrm>
        </p:grpSpPr>
        <p:pic>
          <p:nvPicPr>
            <p:cNvPr id="49" name="Imagen 8">
              <a:extLst>
                <a:ext uri="{FF2B5EF4-FFF2-40B4-BE49-F238E27FC236}">
                  <a16:creationId xmlns:a16="http://schemas.microsoft.com/office/drawing/2014/main" id="{FCE9C3DB-5819-1269-100C-4623BE7812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0818" r="2" b="2"/>
            <a:stretch/>
          </p:blipFill>
          <p:spPr>
            <a:xfrm>
              <a:off x="8066288" y="3775832"/>
              <a:ext cx="1748489" cy="1480243"/>
            </a:xfrm>
            <a:prstGeom prst="rect">
              <a:avLst/>
            </a:prstGeom>
          </p:spPr>
        </p:pic>
        <p:pic>
          <p:nvPicPr>
            <p:cNvPr id="50" name="Immagine 49" descr="Immagine che contiene erba, esterni, oggetto da esterni, macchina agricola&#10;&#10;Descrizione generata automaticamente">
              <a:extLst>
                <a:ext uri="{FF2B5EF4-FFF2-40B4-BE49-F238E27FC236}">
                  <a16:creationId xmlns:a16="http://schemas.microsoft.com/office/drawing/2014/main" id="{3B39B166-4621-3F69-9846-98C444F2628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856385" y="3773237"/>
              <a:ext cx="1008136" cy="1480243"/>
            </a:xfrm>
            <a:prstGeom prst="rect">
              <a:avLst/>
            </a:prstGeom>
          </p:spPr>
        </p:pic>
        <p:sp>
          <p:nvSpPr>
            <p:cNvPr id="51" name="CasellaDiTesto 50">
              <a:extLst>
                <a:ext uri="{FF2B5EF4-FFF2-40B4-BE49-F238E27FC236}">
                  <a16:creationId xmlns:a16="http://schemas.microsoft.com/office/drawing/2014/main" id="{A9032F41-73D8-034A-1951-E79641741D7B}"/>
                </a:ext>
              </a:extLst>
            </p:cNvPr>
            <p:cNvSpPr txBox="1"/>
            <p:nvPr/>
          </p:nvSpPr>
          <p:spPr>
            <a:xfrm>
              <a:off x="8095364" y="4899542"/>
              <a:ext cx="1093306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it-I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avorazioni meccanizzate</a:t>
              </a:r>
            </a:p>
          </p:txBody>
        </p:sp>
      </p:grpSp>
      <p:grpSp>
        <p:nvGrpSpPr>
          <p:cNvPr id="52" name="Gruppo 51">
            <a:extLst>
              <a:ext uri="{FF2B5EF4-FFF2-40B4-BE49-F238E27FC236}">
                <a16:creationId xmlns:a16="http://schemas.microsoft.com/office/drawing/2014/main" id="{BD2D958B-2970-F899-A9DF-D3642A3D5021}"/>
              </a:ext>
            </a:extLst>
          </p:cNvPr>
          <p:cNvGrpSpPr/>
          <p:nvPr/>
        </p:nvGrpSpPr>
        <p:grpSpPr>
          <a:xfrm>
            <a:off x="7450298" y="2726775"/>
            <a:ext cx="1162168" cy="1305317"/>
            <a:chOff x="10920769" y="4129920"/>
            <a:chExt cx="1216436" cy="1366270"/>
          </a:xfrm>
        </p:grpSpPr>
        <p:pic>
          <p:nvPicPr>
            <p:cNvPr id="53" name="Immagine 52">
              <a:extLst>
                <a:ext uri="{FF2B5EF4-FFF2-40B4-BE49-F238E27FC236}">
                  <a16:creationId xmlns:a16="http://schemas.microsoft.com/office/drawing/2014/main" id="{7530DE28-A673-EA16-79E1-73C1DC35D5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/>
            <a:srcRect l="395" t="-5210" r="-395" b="5210"/>
            <a:stretch/>
          </p:blipFill>
          <p:spPr>
            <a:xfrm>
              <a:off x="10920769" y="4129920"/>
              <a:ext cx="1216436" cy="931744"/>
            </a:xfrm>
            <a:prstGeom prst="rect">
              <a:avLst/>
            </a:prstGeom>
          </p:spPr>
        </p:pic>
        <p:sp>
          <p:nvSpPr>
            <p:cNvPr id="54" name="CasellaDiTesto 51">
              <a:extLst>
                <a:ext uri="{FF2B5EF4-FFF2-40B4-BE49-F238E27FC236}">
                  <a16:creationId xmlns:a16="http://schemas.microsoft.com/office/drawing/2014/main" id="{1EF3BD80-CEE3-B56B-3451-A7033A5D2485}"/>
                </a:ext>
              </a:extLst>
            </p:cNvPr>
            <p:cNvSpPr txBox="1"/>
            <p:nvPr/>
          </p:nvSpPr>
          <p:spPr>
            <a:xfrm>
              <a:off x="11043899" y="5126858"/>
              <a:ext cx="1093306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it-I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C6C6C6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nsori di monitoraggio</a:t>
              </a:r>
            </a:p>
          </p:txBody>
        </p:sp>
        <p:sp>
          <p:nvSpPr>
            <p:cNvPr id="55" name="Triangolo isoscele 54">
              <a:extLst>
                <a:ext uri="{FF2B5EF4-FFF2-40B4-BE49-F238E27FC236}">
                  <a16:creationId xmlns:a16="http://schemas.microsoft.com/office/drawing/2014/main" id="{786D9C99-085E-AEC3-F756-5F4CDFADBF07}"/>
                </a:ext>
              </a:extLst>
            </p:cNvPr>
            <p:cNvSpPr/>
            <p:nvPr/>
          </p:nvSpPr>
          <p:spPr>
            <a:xfrm rot="10800000">
              <a:off x="11388720" y="5084539"/>
              <a:ext cx="431865" cy="94460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>
              <a:defPPr>
                <a:defRPr lang="it-I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C6C6C6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6" name="Rectangle 151">
            <a:extLst>
              <a:ext uri="{FF2B5EF4-FFF2-40B4-BE49-F238E27FC236}">
                <a16:creationId xmlns:a16="http://schemas.microsoft.com/office/drawing/2014/main" id="{7FF70B64-8562-B171-7CFB-2A37841315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592" y="797847"/>
            <a:ext cx="358172" cy="370467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46638" rIns="36000" bIns="46638" rtlCol="0" anchor="ctr">
            <a:no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bg1"/>
                </a:solidFill>
              </a:rPr>
              <a:t>4</a:t>
            </a:r>
            <a:endParaRPr lang="en-US" sz="16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63" name="Immagine 62" descr="Bee depositing into a honeycomb">
            <a:extLst>
              <a:ext uri="{FF2B5EF4-FFF2-40B4-BE49-F238E27FC236}">
                <a16:creationId xmlns:a16="http://schemas.microsoft.com/office/drawing/2014/main" id="{F5E38AB1-CAA3-6380-DA24-DE3EF6032725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707765" y="2989588"/>
            <a:ext cx="1329450" cy="88608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71" name="Picture 18" descr="Risultato immagini per peppers piantgione">
            <a:extLst>
              <a:ext uri="{FF2B5EF4-FFF2-40B4-BE49-F238E27FC236}">
                <a16:creationId xmlns:a16="http://schemas.microsoft.com/office/drawing/2014/main" id="{C374145C-944C-E544-A68F-011420C5F91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400721" y="1429320"/>
            <a:ext cx="986962" cy="64276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72" name="Picture 2" descr="60 Best Types of Flowers – Pretty Pictures of Garden Flowers">
            <a:extLst>
              <a:ext uri="{FF2B5EF4-FFF2-40B4-BE49-F238E27FC236}">
                <a16:creationId xmlns:a16="http://schemas.microsoft.com/office/drawing/2014/main" id="{9E2E4662-0E6D-2AA0-61C5-A173F5B95E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2545" y="1433287"/>
            <a:ext cx="986960" cy="69419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6917149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342B2E-9EDC-858E-1CA0-82DAB9DCE9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po 23">
            <a:extLst>
              <a:ext uri="{FF2B5EF4-FFF2-40B4-BE49-F238E27FC236}">
                <a16:creationId xmlns:a16="http://schemas.microsoft.com/office/drawing/2014/main" id="{10D28E5E-C231-ADFB-FC39-1317EB867BE6}"/>
              </a:ext>
            </a:extLst>
          </p:cNvPr>
          <p:cNvGrpSpPr/>
          <p:nvPr/>
        </p:nvGrpSpPr>
        <p:grpSpPr>
          <a:xfrm>
            <a:off x="5286046" y="1815182"/>
            <a:ext cx="6528219" cy="287497"/>
            <a:chOff x="4682561" y="1481123"/>
            <a:chExt cx="6528219" cy="287497"/>
          </a:xfrm>
        </p:grpSpPr>
        <p:sp>
          <p:nvSpPr>
            <p:cNvPr id="9" name="CasellaDiTesto 63">
              <a:extLst>
                <a:ext uri="{FF2B5EF4-FFF2-40B4-BE49-F238E27FC236}">
                  <a16:creationId xmlns:a16="http://schemas.microsoft.com/office/drawing/2014/main" id="{4D324440-1F2F-FB9B-D80F-9C81B684367E}"/>
                </a:ext>
              </a:extLst>
            </p:cNvPr>
            <p:cNvSpPr txBox="1"/>
            <p:nvPr/>
          </p:nvSpPr>
          <p:spPr>
            <a:xfrm>
              <a:off x="4714327" y="1481123"/>
              <a:ext cx="6473493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b="1" i="0" u="none" strike="noStrike" kern="0" cap="none" spc="0" normalizeH="0" baseline="0" noProof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iù grande impianto </a:t>
              </a:r>
              <a:r>
                <a:rPr kumimoji="0" lang="it-IT" b="1" i="0" u="none" strike="noStrike" kern="0" cap="none" spc="0" normalizeH="0" baseline="0" noProof="0" err="1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grivoltaico</a:t>
              </a:r>
              <a:r>
                <a:rPr kumimoji="0" lang="it-IT" b="1" i="0" u="none" strike="noStrike" kern="0" cap="none" spc="0" normalizeH="0" baseline="0" noProof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in Italia con 170 MW di capacità</a:t>
              </a:r>
            </a:p>
          </p:txBody>
        </p:sp>
        <p:grpSp>
          <p:nvGrpSpPr>
            <p:cNvPr id="28" name="Gruppo 27">
              <a:extLst>
                <a:ext uri="{FF2B5EF4-FFF2-40B4-BE49-F238E27FC236}">
                  <a16:creationId xmlns:a16="http://schemas.microsoft.com/office/drawing/2014/main" id="{8EC3A142-B978-2D8A-8773-F5E8C4CF278C}"/>
                </a:ext>
              </a:extLst>
            </p:cNvPr>
            <p:cNvGrpSpPr/>
            <p:nvPr/>
          </p:nvGrpSpPr>
          <p:grpSpPr>
            <a:xfrm>
              <a:off x="4682561" y="1492173"/>
              <a:ext cx="6528219" cy="276447"/>
              <a:chOff x="6362768" y="202019"/>
              <a:chExt cx="3700486" cy="276447"/>
            </a:xfrm>
            <a:noFill/>
          </p:grpSpPr>
          <p:cxnSp>
            <p:nvCxnSpPr>
              <p:cNvPr id="30" name="Connettore diritto 29">
                <a:extLst>
                  <a:ext uri="{FF2B5EF4-FFF2-40B4-BE49-F238E27FC236}">
                    <a16:creationId xmlns:a16="http://schemas.microsoft.com/office/drawing/2014/main" id="{3CB57759-7775-938E-47ED-C0D9BE59331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362768" y="202019"/>
                <a:ext cx="3700486" cy="0"/>
              </a:xfrm>
              <a:prstGeom prst="line">
                <a:avLst/>
              </a:prstGeom>
              <a:grpFill/>
              <a:ln w="28575">
                <a:solidFill>
                  <a:schemeClr val="accent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Connettore diritto 30">
                <a:extLst>
                  <a:ext uri="{FF2B5EF4-FFF2-40B4-BE49-F238E27FC236}">
                    <a16:creationId xmlns:a16="http://schemas.microsoft.com/office/drawing/2014/main" id="{7289F426-1812-4328-4E90-8BAE0D7359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362768" y="478466"/>
                <a:ext cx="3700486" cy="0"/>
              </a:xfrm>
              <a:prstGeom prst="line">
                <a:avLst/>
              </a:prstGeom>
              <a:grpFill/>
              <a:ln w="28575">
                <a:solidFill>
                  <a:schemeClr val="accent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2" name="Segnaposto numero diapositiva 3">
            <a:extLst>
              <a:ext uri="{FF2B5EF4-FFF2-40B4-BE49-F238E27FC236}">
                <a16:creationId xmlns:a16="http://schemas.microsoft.com/office/drawing/2014/main" id="{7AC9F54C-88ED-F404-70D5-0BEF08CA72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0000" y="6704112"/>
            <a:ext cx="762000" cy="153888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D2235E-0982-3B42-A838-A74550CD4449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D26699DC-CB9B-B223-EE24-C4A92ACE77AE}"/>
              </a:ext>
            </a:extLst>
          </p:cNvPr>
          <p:cNvSpPr txBox="1">
            <a:spLocks/>
          </p:cNvSpPr>
          <p:nvPr/>
        </p:nvSpPr>
        <p:spPr>
          <a:xfrm>
            <a:off x="761998" y="1085366"/>
            <a:ext cx="9972000" cy="276999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Il parco </a:t>
            </a:r>
            <a:r>
              <a:rPr kumimoji="0" lang="it-IT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agrivoltaico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di Enel «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Piani della Marina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», 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170 MW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, in </a:t>
            </a:r>
            <a:r>
              <a:rPr kumimoji="0" lang="it-IT" sz="1800" b="0" i="1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operation</a:t>
            </a:r>
            <a:r>
              <a:rPr kumimoji="0" lang="it-IT" sz="18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</a:t>
            </a:r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BB3E7302-A7C5-D203-F9EC-16D329DD504E}"/>
              </a:ext>
            </a:extLst>
          </p:cNvPr>
          <p:cNvSpPr/>
          <p:nvPr/>
        </p:nvSpPr>
        <p:spPr>
          <a:xfrm>
            <a:off x="250954" y="4297082"/>
            <a:ext cx="3678668" cy="216089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SzPct val="107000"/>
              <a:buFont typeface="Arial" panose="020B0604020202020204" pitchFamily="34" charset="0"/>
              <a:buChar char="•"/>
            </a:pPr>
            <a:endParaRPr kumimoji="0" lang="it-IT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Rettangolo 12">
            <a:extLst>
              <a:ext uri="{FF2B5EF4-FFF2-40B4-BE49-F238E27FC236}">
                <a16:creationId xmlns:a16="http://schemas.microsoft.com/office/drawing/2014/main" id="{1EC93096-35FB-2A59-2EEF-F7604732FFAD}"/>
              </a:ext>
            </a:extLst>
          </p:cNvPr>
          <p:cNvSpPr/>
          <p:nvPr/>
        </p:nvSpPr>
        <p:spPr>
          <a:xfrm>
            <a:off x="5277224" y="2219781"/>
            <a:ext cx="6583196" cy="423819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7000"/>
              <a:buFont typeface="Arial" panose="020B0604020202020204" pitchFamily="34" charset="0"/>
              <a:buChar char="•"/>
            </a:pPr>
            <a:r>
              <a:rPr lang="it-IT" sz="1400" b="1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ntenimento della tradizione agricola del territorio </a:t>
            </a:r>
            <a:r>
              <a:rPr lang="it-IT" sz="14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 coltivazioni di foraggio e borragine nelle aree libere tra le file dei pannelli e ulivi nelle fasce perimetrali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7000"/>
              <a:buFont typeface="Arial" panose="020B0604020202020204" pitchFamily="34" charset="0"/>
              <a:buChar char="•"/>
            </a:pPr>
            <a:r>
              <a:rPr lang="it-IT" sz="1400" b="1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grazione ad una realtà agricola locale più ampia </a:t>
            </a:r>
            <a:r>
              <a:rPr lang="it-IT" sz="14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he include </a:t>
            </a:r>
          </a:p>
          <a:p>
            <a:pPr marL="742950" lvl="1" indent="-285750">
              <a:spcAft>
                <a:spcPts val="600"/>
              </a:spcAft>
              <a:buClr>
                <a:schemeClr val="accent1"/>
              </a:buClr>
              <a:buSzPct val="107000"/>
              <a:buFont typeface="Arial" panose="020B0604020202020204" pitchFamily="34" charset="0"/>
              <a:buChar char="•"/>
            </a:pPr>
            <a:r>
              <a:rPr lang="it-IT" sz="14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liveti, mandorleti, coltivazione di cereali e fienagione</a:t>
            </a:r>
            <a:endParaRPr lang="it-IT" sz="1400" kern="1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spcAft>
                <a:spcPts val="600"/>
              </a:spcAft>
              <a:buClr>
                <a:schemeClr val="accent1"/>
              </a:buClr>
              <a:buSzPct val="107000"/>
              <a:buFont typeface="Arial" panose="020B0604020202020204" pitchFamily="34" charset="0"/>
              <a:buChar char="•"/>
            </a:pPr>
            <a:r>
              <a:rPr lang="it-IT" sz="14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l più grande allevamento italiano di Alpaca con attività ludico-ricreative e visite guidate</a:t>
            </a:r>
          </a:p>
          <a:p>
            <a:pPr marL="285750" marR="0" lvl="0" indent="-285750" fontAlgn="auto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7000"/>
              <a:buFont typeface="Arial" panose="020B0604020202020204" pitchFamily="34" charset="0"/>
              <a:buChar char="•"/>
              <a:tabLst/>
              <a:defRPr/>
            </a:pPr>
            <a:r>
              <a:rPr lang="it-IT" sz="1400" b="1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enefici correlati:</a:t>
            </a:r>
            <a:endParaRPr kumimoji="0" lang="it-IT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731838" marR="0" lvl="2" indent="-285750" algn="just" defTabSz="914400" rtl="0" eaLnBrk="1" fontAlgn="auto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utela attività agricola: </a:t>
            </a:r>
            <a:r>
              <a:rPr kumimoji="0" lang="it-IT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l «partner agricolo» può ricevere, a seconda dei casi, un corrispettivo annuale fisso a fronte dell’impegno alla continuazione dell’attività agricola</a:t>
            </a:r>
          </a:p>
          <a:p>
            <a:pPr marL="731838" marR="0" lvl="2" indent="-285750" algn="just" defTabSz="914400" rtl="0" eaLnBrk="1" fontAlgn="auto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umento della resa colturale 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– L’ombreggiamento dei moduli sul terreno può contribuire ad incrementare la resa agricola del foraggio coltivato nelle aree libere di impianto tra le fila di 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cker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fino al 50%), e a </a:t>
            </a:r>
            <a:r>
              <a:rPr lang="it-IT" sz="14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idurre il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onsumo idrico (fino al 20%) </a:t>
            </a:r>
            <a:r>
              <a:rPr lang="it-IT" sz="14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teggendo 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 colture dai picchi di calore e dallo stress termico</a:t>
            </a:r>
            <a:r>
              <a:rPr kumimoji="0" lang="it-IT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</a:t>
            </a: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2C224A3C-410C-1D87-12D7-7F027AE52D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906" b="16647"/>
          <a:stretch/>
        </p:blipFill>
        <p:spPr bwMode="auto">
          <a:xfrm>
            <a:off x="522786" y="1631195"/>
            <a:ext cx="4292157" cy="257563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013759F2-0AB2-7D86-2C01-E9A1BE850651}"/>
              </a:ext>
            </a:extLst>
          </p:cNvPr>
          <p:cNvSpPr txBox="1"/>
          <p:nvPr/>
        </p:nvSpPr>
        <p:spPr>
          <a:xfrm>
            <a:off x="458431" y="4957608"/>
            <a:ext cx="3330356" cy="15388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4625" indent="-174625">
              <a:spcBef>
                <a:spcPts val="600"/>
              </a:spcBef>
              <a:buClr>
                <a:schemeClr val="accent1"/>
              </a:buClr>
              <a:buSzPct val="107000"/>
              <a:buFont typeface="Arial" panose="020B0604020202020204" pitchFamily="34" charset="0"/>
              <a:buChar char="•"/>
            </a:pPr>
            <a:r>
              <a:rPr lang="it-IT" sz="140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80 i GWh medi prodotti ogni anno </a:t>
            </a:r>
          </a:p>
          <a:p>
            <a:pPr marL="174625" indent="-174625">
              <a:spcBef>
                <a:spcPts val="600"/>
              </a:spcBef>
              <a:buClr>
                <a:schemeClr val="accent1"/>
              </a:buClr>
              <a:buSzPct val="107000"/>
              <a:buFont typeface="Arial" panose="020B0604020202020204" pitchFamily="34" charset="0"/>
              <a:buChar char="•"/>
            </a:pPr>
            <a:r>
              <a:rPr lang="it-IT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30mila</a:t>
            </a:r>
            <a:r>
              <a:rPr lang="it-IT" sz="140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tonnellate di CO2 evitate ogni anno </a:t>
            </a:r>
          </a:p>
          <a:p>
            <a:pPr marL="174625" indent="-174625">
              <a:spcBef>
                <a:spcPts val="600"/>
              </a:spcBef>
              <a:buClr>
                <a:schemeClr val="accent1"/>
              </a:buClr>
              <a:buSzPct val="107000"/>
              <a:buFont typeface="Arial" panose="020B0604020202020204" pitchFamily="34" charset="0"/>
              <a:buChar char="•"/>
            </a:pPr>
            <a:r>
              <a:rPr lang="it-IT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11.000 famiglie </a:t>
            </a:r>
            <a:r>
              <a:rPr lang="it-IT" sz="140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 grado di soddisfare in maniera sostenibile il fabbisogno energetico </a:t>
            </a:r>
            <a:endParaRPr lang="it-IT" sz="1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2" name="Elemento grafico 21" descr="Dorso della mano con indice che punta verso destra contorno">
            <a:extLst>
              <a:ext uri="{FF2B5EF4-FFF2-40B4-BE49-F238E27FC236}">
                <a16:creationId xmlns:a16="http://schemas.microsoft.com/office/drawing/2014/main" id="{08787CEA-E1AA-35A4-BBC8-5EFFE15015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0987" y="4373141"/>
            <a:ext cx="343599" cy="343599"/>
          </a:xfrm>
          <a:prstGeom prst="rect">
            <a:avLst/>
          </a:prstGeom>
        </p:spPr>
      </p:pic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4BB051E1-8F00-9F29-F184-F73A832F17A1}"/>
              </a:ext>
            </a:extLst>
          </p:cNvPr>
          <p:cNvSpPr txBox="1"/>
          <p:nvPr/>
        </p:nvSpPr>
        <p:spPr>
          <a:xfrm flipH="1">
            <a:off x="865310" y="4398459"/>
            <a:ext cx="277458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1600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 numeri dell’impianto, localizzato nel Lazio: </a:t>
            </a:r>
          </a:p>
        </p:txBody>
      </p:sp>
      <p:grpSp>
        <p:nvGrpSpPr>
          <p:cNvPr id="36" name="Gruppo 35">
            <a:extLst>
              <a:ext uri="{FF2B5EF4-FFF2-40B4-BE49-F238E27FC236}">
                <a16:creationId xmlns:a16="http://schemas.microsoft.com/office/drawing/2014/main" id="{95E73B7B-B0F2-F71F-F8AE-D52FCD393E11}"/>
              </a:ext>
            </a:extLst>
          </p:cNvPr>
          <p:cNvGrpSpPr/>
          <p:nvPr/>
        </p:nvGrpSpPr>
        <p:grpSpPr>
          <a:xfrm>
            <a:off x="3684854" y="4278848"/>
            <a:ext cx="1862286" cy="2179125"/>
            <a:chOff x="3738628" y="4642997"/>
            <a:chExt cx="1862286" cy="2179125"/>
          </a:xfrm>
        </p:grpSpPr>
        <p:pic>
          <p:nvPicPr>
            <p:cNvPr id="25" name="Elemento grafico 24" descr="Pianta con radici contorno">
              <a:extLst>
                <a:ext uri="{FF2B5EF4-FFF2-40B4-BE49-F238E27FC236}">
                  <a16:creationId xmlns:a16="http://schemas.microsoft.com/office/drawing/2014/main" id="{B67E5BAA-F45A-AE36-09EC-2FF27BC82AB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796290" y="6005019"/>
              <a:ext cx="403252" cy="452609"/>
            </a:xfrm>
            <a:prstGeom prst="rect">
              <a:avLst/>
            </a:prstGeom>
          </p:spPr>
        </p:pic>
        <p:pic>
          <p:nvPicPr>
            <p:cNvPr id="26" name="Elemento grafico 25" descr="Pannelli solari con riempimento a tinta unita">
              <a:extLst>
                <a:ext uri="{FF2B5EF4-FFF2-40B4-BE49-F238E27FC236}">
                  <a16:creationId xmlns:a16="http://schemas.microsoft.com/office/drawing/2014/main" id="{B9FE81A4-60EB-4BC2-6AD2-00D19412F50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044898" y="5011220"/>
              <a:ext cx="426575" cy="426575"/>
            </a:xfrm>
            <a:prstGeom prst="rect">
              <a:avLst/>
            </a:prstGeom>
          </p:spPr>
        </p:pic>
        <p:grpSp>
          <p:nvGrpSpPr>
            <p:cNvPr id="27" name="Gruppo 26">
              <a:extLst>
                <a:ext uri="{FF2B5EF4-FFF2-40B4-BE49-F238E27FC236}">
                  <a16:creationId xmlns:a16="http://schemas.microsoft.com/office/drawing/2014/main" id="{77996050-514E-85DF-B378-8DE013E0C79B}"/>
                </a:ext>
              </a:extLst>
            </p:cNvPr>
            <p:cNvGrpSpPr/>
            <p:nvPr/>
          </p:nvGrpSpPr>
          <p:grpSpPr>
            <a:xfrm>
              <a:off x="3738628" y="4642997"/>
              <a:ext cx="1862286" cy="2179125"/>
              <a:chOff x="8179571" y="2906030"/>
              <a:chExt cx="2705801" cy="3366205"/>
            </a:xfrm>
          </p:grpSpPr>
          <p:sp>
            <p:nvSpPr>
              <p:cNvPr id="29" name="Forma 28">
                <a:extLst>
                  <a:ext uri="{FF2B5EF4-FFF2-40B4-BE49-F238E27FC236}">
                    <a16:creationId xmlns:a16="http://schemas.microsoft.com/office/drawing/2014/main" id="{54E49103-E692-E012-7AEF-B57B0DD2C919}"/>
                  </a:ext>
                </a:extLst>
              </p:cNvPr>
              <p:cNvSpPr/>
              <p:nvPr/>
            </p:nvSpPr>
            <p:spPr>
              <a:xfrm>
                <a:off x="8179571" y="2906030"/>
                <a:ext cx="2239763" cy="2240103"/>
              </a:xfrm>
              <a:prstGeom prst="leftCircularArrow">
                <a:avLst>
                  <a:gd name="adj1" fmla="val 10980"/>
                  <a:gd name="adj2" fmla="val 1142322"/>
                  <a:gd name="adj3" fmla="val 6300000"/>
                  <a:gd name="adj4" fmla="val 18900000"/>
                  <a:gd name="adj5" fmla="val 12500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it-IT"/>
              </a:p>
            </p:txBody>
          </p:sp>
          <p:sp>
            <p:nvSpPr>
              <p:cNvPr id="33" name="Figura a mano libera: forma 32">
                <a:extLst>
                  <a:ext uri="{FF2B5EF4-FFF2-40B4-BE49-F238E27FC236}">
                    <a16:creationId xmlns:a16="http://schemas.microsoft.com/office/drawing/2014/main" id="{A09E2575-0108-CDFF-0ED1-4D2BEE2DC6A6}"/>
                  </a:ext>
                </a:extLst>
              </p:cNvPr>
              <p:cNvSpPr/>
              <p:nvPr/>
            </p:nvSpPr>
            <p:spPr>
              <a:xfrm>
                <a:off x="8539473" y="3669332"/>
                <a:ext cx="1471395" cy="622147"/>
              </a:xfrm>
              <a:custGeom>
                <a:avLst/>
                <a:gdLst>
                  <a:gd name="connsiteX0" fmla="*/ 0 w 1471395"/>
                  <a:gd name="connsiteY0" fmla="*/ 0 h 622147"/>
                  <a:gd name="connsiteX1" fmla="*/ 1471395 w 1471395"/>
                  <a:gd name="connsiteY1" fmla="*/ 0 h 622147"/>
                  <a:gd name="connsiteX2" fmla="*/ 1471395 w 1471395"/>
                  <a:gd name="connsiteY2" fmla="*/ 622147 h 622147"/>
                  <a:gd name="connsiteX3" fmla="*/ 0 w 1471395"/>
                  <a:gd name="connsiteY3" fmla="*/ 622147 h 622147"/>
                  <a:gd name="connsiteX4" fmla="*/ 0 w 1471395"/>
                  <a:gd name="connsiteY4" fmla="*/ 0 h 622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1395" h="622147">
                    <a:moveTo>
                      <a:pt x="0" y="0"/>
                    </a:moveTo>
                    <a:lnTo>
                      <a:pt x="1471395" y="0"/>
                    </a:lnTo>
                    <a:lnTo>
                      <a:pt x="1471395" y="622147"/>
                    </a:lnTo>
                    <a:lnTo>
                      <a:pt x="0" y="622147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8890" tIns="8890" rIns="8890" bIns="8890" numCol="1" spcCol="1270" anchor="ctr" anchorCtr="0">
                <a:noAutofit/>
              </a:bodyPr>
              <a:lstStyle/>
              <a:p>
                <a:pPr marL="0" marR="0" lvl="0" indent="0" algn="ctr" defTabSz="6223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Produzione di energia rinnovabile</a:t>
                </a:r>
              </a:p>
            </p:txBody>
          </p:sp>
          <p:sp>
            <p:nvSpPr>
              <p:cNvPr id="34" name="Arco a tutto sesto 33">
                <a:extLst>
                  <a:ext uri="{FF2B5EF4-FFF2-40B4-BE49-F238E27FC236}">
                    <a16:creationId xmlns:a16="http://schemas.microsoft.com/office/drawing/2014/main" id="{D0D7A547-92F5-1F2F-A8C1-7B6B0B8BC888}"/>
                  </a:ext>
                </a:extLst>
              </p:cNvPr>
              <p:cNvSpPr/>
              <p:nvPr/>
            </p:nvSpPr>
            <p:spPr>
              <a:xfrm>
                <a:off x="8961069" y="4347161"/>
                <a:ext cx="1924303" cy="1925074"/>
              </a:xfrm>
              <a:prstGeom prst="blockArc">
                <a:avLst>
                  <a:gd name="adj1" fmla="val 13500000"/>
                  <a:gd name="adj2" fmla="val 10800000"/>
                  <a:gd name="adj3" fmla="val 12740"/>
                </a:avLst>
              </a:prstGeom>
              <a:solidFill>
                <a:schemeClr val="accent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it-IT"/>
              </a:p>
            </p:txBody>
          </p:sp>
          <p:sp>
            <p:nvSpPr>
              <p:cNvPr id="35" name="Figura a mano libera: forma 34">
                <a:extLst>
                  <a:ext uri="{FF2B5EF4-FFF2-40B4-BE49-F238E27FC236}">
                    <a16:creationId xmlns:a16="http://schemas.microsoft.com/office/drawing/2014/main" id="{3A77B4B2-EF74-B690-5FC4-54CA4CDC3156}"/>
                  </a:ext>
                </a:extLst>
              </p:cNvPr>
              <p:cNvSpPr/>
              <p:nvPr/>
            </p:nvSpPr>
            <p:spPr>
              <a:xfrm>
                <a:off x="9213931" y="4808968"/>
                <a:ext cx="1400684" cy="926518"/>
              </a:xfrm>
              <a:custGeom>
                <a:avLst/>
                <a:gdLst>
                  <a:gd name="connsiteX0" fmla="*/ 0 w 1324458"/>
                  <a:gd name="connsiteY0" fmla="*/ 0 h 622147"/>
                  <a:gd name="connsiteX1" fmla="*/ 1324458 w 1324458"/>
                  <a:gd name="connsiteY1" fmla="*/ 0 h 622147"/>
                  <a:gd name="connsiteX2" fmla="*/ 1324458 w 1324458"/>
                  <a:gd name="connsiteY2" fmla="*/ 622147 h 622147"/>
                  <a:gd name="connsiteX3" fmla="*/ 0 w 1324458"/>
                  <a:gd name="connsiteY3" fmla="*/ 622147 h 622147"/>
                  <a:gd name="connsiteX4" fmla="*/ 0 w 1324458"/>
                  <a:gd name="connsiteY4" fmla="*/ 0 h 622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24458" h="622147">
                    <a:moveTo>
                      <a:pt x="0" y="0"/>
                    </a:moveTo>
                    <a:lnTo>
                      <a:pt x="1324458" y="0"/>
                    </a:lnTo>
                    <a:lnTo>
                      <a:pt x="1324458" y="622147"/>
                    </a:lnTo>
                    <a:lnTo>
                      <a:pt x="0" y="622147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8890" tIns="8890" rIns="8890" bIns="8890" numCol="1" spcCol="1270" anchor="ctr" anchorCtr="0">
                <a:noAutofit/>
              </a:bodyPr>
              <a:lstStyle/>
              <a:p>
                <a:pPr marL="0" marR="0" lvl="0" indent="0" algn="ctr" defTabSz="6223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Tutela </a:t>
                </a:r>
                <a:r>
                  <a:rPr lang="it-IT" sz="1200" b="1"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e supporto all’attività agricola</a:t>
                </a:r>
                <a:endParaRPr kumimoji="0" lang="it-IT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</p:grpSp>
      <p:sp>
        <p:nvSpPr>
          <p:cNvPr id="37" name="CasellaDiTesto 36">
            <a:extLst>
              <a:ext uri="{FF2B5EF4-FFF2-40B4-BE49-F238E27FC236}">
                <a16:creationId xmlns:a16="http://schemas.microsoft.com/office/drawing/2014/main" id="{C18DA98F-FBDA-734C-8996-5E3E82A46913}"/>
              </a:ext>
            </a:extLst>
          </p:cNvPr>
          <p:cNvSpPr txBox="1"/>
          <p:nvPr/>
        </p:nvSpPr>
        <p:spPr>
          <a:xfrm>
            <a:off x="3456" y="6558231"/>
            <a:ext cx="11594353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Tali valori fanno riferimento ad evidenze sperimentali legate a test in campo condotti da Enel Green Power in alcuni Paesi di presenza (</a:t>
            </a:r>
            <a:r>
              <a:rPr kumimoji="0" lang="it-IT" sz="14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cl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Spagna) </a:t>
            </a:r>
          </a:p>
        </p:txBody>
      </p:sp>
      <p:sp>
        <p:nvSpPr>
          <p:cNvPr id="3" name="Titolo 1">
            <a:extLst>
              <a:ext uri="{FF2B5EF4-FFF2-40B4-BE49-F238E27FC236}">
                <a16:creationId xmlns:a16="http://schemas.microsoft.com/office/drawing/2014/main" id="{49C29C96-6C71-2975-962E-80982F28A89E}"/>
              </a:ext>
            </a:extLst>
          </p:cNvPr>
          <p:cNvSpPr txBox="1">
            <a:spLocks/>
          </p:cNvSpPr>
          <p:nvPr/>
        </p:nvSpPr>
        <p:spPr>
          <a:xfrm>
            <a:off x="761999" y="670121"/>
            <a:ext cx="9423992" cy="39498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Modelli di «</a:t>
            </a:r>
            <a:r>
              <a:rPr kumimoji="0" lang="it-IT" sz="28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agrivoltaico</a:t>
            </a: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» Enel</a:t>
            </a:r>
          </a:p>
        </p:txBody>
      </p:sp>
      <p:sp>
        <p:nvSpPr>
          <p:cNvPr id="5" name="Rectangle 151">
            <a:extLst>
              <a:ext uri="{FF2B5EF4-FFF2-40B4-BE49-F238E27FC236}">
                <a16:creationId xmlns:a16="http://schemas.microsoft.com/office/drawing/2014/main" id="{985D77E0-D775-40FF-034B-8803EE755C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592" y="797847"/>
            <a:ext cx="358172" cy="370467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46638" rIns="36000" bIns="46638" rtlCol="0" anchor="ctr">
            <a:no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bg1"/>
                </a:solidFill>
                <a:latin typeface="+mn-lt"/>
              </a:rPr>
              <a:t>5</a:t>
            </a:r>
          </a:p>
        </p:txBody>
      </p:sp>
      <p:grpSp>
        <p:nvGrpSpPr>
          <p:cNvPr id="6" name="Gruppo 5">
            <a:extLst>
              <a:ext uri="{FF2B5EF4-FFF2-40B4-BE49-F238E27FC236}">
                <a16:creationId xmlns:a16="http://schemas.microsoft.com/office/drawing/2014/main" id="{A9149F5B-8989-90A6-C0B2-CEAE7CC3AB94}"/>
              </a:ext>
            </a:extLst>
          </p:cNvPr>
          <p:cNvGrpSpPr/>
          <p:nvPr/>
        </p:nvGrpSpPr>
        <p:grpSpPr>
          <a:xfrm>
            <a:off x="8974401" y="562145"/>
            <a:ext cx="863135" cy="1046441"/>
            <a:chOff x="4145331" y="1630329"/>
            <a:chExt cx="1692545" cy="2051995"/>
          </a:xfrm>
        </p:grpSpPr>
        <p:sp>
          <p:nvSpPr>
            <p:cNvPr id="8" name="Freeform 158">
              <a:extLst>
                <a:ext uri="{FF2B5EF4-FFF2-40B4-BE49-F238E27FC236}">
                  <a16:creationId xmlns:a16="http://schemas.microsoft.com/office/drawing/2014/main" id="{92B0D402-FC5B-769D-CBDC-5EA16C84781F}"/>
                </a:ext>
              </a:extLst>
            </p:cNvPr>
            <p:cNvSpPr/>
            <p:nvPr/>
          </p:nvSpPr>
          <p:spPr>
            <a:xfrm>
              <a:off x="4857173" y="2286274"/>
              <a:ext cx="205785" cy="21864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20"/>
                <a:gd name="f7" fmla="val 261"/>
                <a:gd name="f8" fmla="val 198"/>
                <a:gd name="f9" fmla="val 216"/>
                <a:gd name="f10" fmla="val 185"/>
                <a:gd name="f11" fmla="val 204"/>
                <a:gd name="f12" fmla="val 176"/>
                <a:gd name="f13" fmla="val 186"/>
                <a:gd name="f14" fmla="val 161"/>
                <a:gd name="f15" fmla="val 171"/>
                <a:gd name="f16" fmla="val 154"/>
                <a:gd name="f17" fmla="val 160"/>
                <a:gd name="f18" fmla="val 147"/>
                <a:gd name="f19" fmla="val 164"/>
                <a:gd name="f20" fmla="val 122"/>
                <a:gd name="f21" fmla="val 159"/>
                <a:gd name="f22" fmla="val 107"/>
                <a:gd name="f23" fmla="val 155"/>
                <a:gd name="f24" fmla="val 91"/>
                <a:gd name="f25" fmla="val 67"/>
                <a:gd name="f26" fmla="val 141"/>
                <a:gd name="f27" fmla="val 57"/>
                <a:gd name="f28" fmla="val 124"/>
                <a:gd name="f29" fmla="val 44"/>
                <a:gd name="f30" fmla="val 111"/>
                <a:gd name="f31" fmla="val 42"/>
                <a:gd name="f32" fmla="val 97"/>
                <a:gd name="f33" fmla="val 27"/>
                <a:gd name="f34" fmla="val 89"/>
                <a:gd name="f35" fmla="val 13"/>
                <a:gd name="f36" fmla="val 77"/>
                <a:gd name="f37" fmla="val 66"/>
                <a:gd name="f38" fmla="val 59"/>
                <a:gd name="f39" fmla="val 7"/>
                <a:gd name="f40" fmla="val 49"/>
                <a:gd name="f41" fmla="val 4"/>
                <a:gd name="f42" fmla="val 45"/>
                <a:gd name="f43" fmla="val 17"/>
                <a:gd name="f44" fmla="val 52"/>
                <a:gd name="f45" fmla="val 33"/>
                <a:gd name="f46" fmla="val 61"/>
                <a:gd name="f47" fmla="val 58"/>
                <a:gd name="f48" fmla="val 64"/>
                <a:gd name="f49" fmla="val 41"/>
                <a:gd name="f50" fmla="val 29"/>
                <a:gd name="f51" fmla="val 74"/>
                <a:gd name="f52" fmla="val 21"/>
                <a:gd name="f53" fmla="val 84"/>
                <a:gd name="f54" fmla="val 98"/>
                <a:gd name="f55" fmla="val 109"/>
                <a:gd name="f56" fmla="val 25"/>
                <a:gd name="f57" fmla="val 116"/>
                <a:gd name="f58" fmla="val 12"/>
                <a:gd name="f59" fmla="val 127"/>
                <a:gd name="f60" fmla="val 16"/>
                <a:gd name="f61" fmla="val 136"/>
                <a:gd name="f62" fmla="val 14"/>
                <a:gd name="f63" fmla="val 144"/>
                <a:gd name="f64" fmla="val 2"/>
                <a:gd name="f65" fmla="val 5"/>
                <a:gd name="f66" fmla="val 169"/>
                <a:gd name="f67" fmla="val 174"/>
                <a:gd name="f68" fmla="val 181"/>
                <a:gd name="f69" fmla="val 196"/>
                <a:gd name="f70" fmla="val 211"/>
                <a:gd name="f71" fmla="val 20"/>
                <a:gd name="f72" fmla="val 203"/>
                <a:gd name="f73" fmla="val 36"/>
                <a:gd name="f74" fmla="val 208"/>
                <a:gd name="f75" fmla="val 47"/>
                <a:gd name="f76" fmla="val 221"/>
                <a:gd name="f77" fmla="val 232"/>
                <a:gd name="f78" fmla="val 236"/>
                <a:gd name="f79" fmla="val 65"/>
                <a:gd name="f80" fmla="val 243"/>
                <a:gd name="f81" fmla="val 69"/>
                <a:gd name="f82" fmla="val 252"/>
                <a:gd name="f83" fmla="val 79"/>
                <a:gd name="f84" fmla="val 257"/>
                <a:gd name="f85" fmla="val 106"/>
                <a:gd name="f86" fmla="val 119"/>
                <a:gd name="f87" fmla="val 248"/>
                <a:gd name="f88" fmla="val 126"/>
                <a:gd name="f89" fmla="val 139"/>
                <a:gd name="f90" fmla="val 238"/>
                <a:gd name="f91" fmla="val 151"/>
                <a:gd name="f92" fmla="val 228"/>
                <a:gd name="f93" fmla="val 166"/>
                <a:gd name="f94" fmla="val 218"/>
                <a:gd name="f95" fmla="val 214"/>
                <a:gd name="f96" fmla="val 184"/>
                <a:gd name="f97" fmla="val 193"/>
                <a:gd name="f98" fmla="+- 0 0 -90"/>
                <a:gd name="f99" fmla="*/ f3 1 220"/>
                <a:gd name="f100" fmla="*/ f4 1 261"/>
                <a:gd name="f101" fmla="+- f7 0 f5"/>
                <a:gd name="f102" fmla="+- f6 0 f5"/>
                <a:gd name="f103" fmla="*/ f98 f0 1"/>
                <a:gd name="f104" fmla="*/ f102 1 220"/>
                <a:gd name="f105" fmla="*/ f101 1 261"/>
                <a:gd name="f106" fmla="*/ f103 1 f2"/>
                <a:gd name="f107" fmla="*/ 216 1 f104"/>
                <a:gd name="f108" fmla="*/ 185 1 f105"/>
                <a:gd name="f109" fmla="*/ 186 1 f104"/>
                <a:gd name="f110" fmla="*/ 161 1 f105"/>
                <a:gd name="f111" fmla="*/ 160 1 f104"/>
                <a:gd name="f112" fmla="*/ 147 1 f105"/>
                <a:gd name="f113" fmla="*/ 159 1 f104"/>
                <a:gd name="f114" fmla="*/ 107 1 f105"/>
                <a:gd name="f115" fmla="*/ 155 1 f104"/>
                <a:gd name="f116" fmla="*/ 67 1 f105"/>
                <a:gd name="f117" fmla="*/ 124 1 f104"/>
                <a:gd name="f118" fmla="*/ 44 1 f105"/>
                <a:gd name="f119" fmla="*/ 97 1 f104"/>
                <a:gd name="f120" fmla="*/ 27 1 f105"/>
                <a:gd name="f121" fmla="*/ 77 1 f104"/>
                <a:gd name="f122" fmla="*/ 13 1 f105"/>
                <a:gd name="f123" fmla="*/ 66 1 f104"/>
                <a:gd name="f124" fmla="*/ 0 1 f105"/>
                <a:gd name="f125" fmla="*/ 49 1 f104"/>
                <a:gd name="f126" fmla="*/ 4 1 f105"/>
                <a:gd name="f127" fmla="*/ 52 1 f104"/>
                <a:gd name="f128" fmla="*/ 33 1 f105"/>
                <a:gd name="f129" fmla="*/ 61 1 f104"/>
                <a:gd name="f130" fmla="*/ 58 1 f105"/>
                <a:gd name="f131" fmla="*/ 41 1 f104"/>
                <a:gd name="f132" fmla="*/ 21 1 f104"/>
                <a:gd name="f133" fmla="*/ 84 1 f105"/>
                <a:gd name="f134" fmla="*/ 27 1 f104"/>
                <a:gd name="f135" fmla="*/ 109 1 f105"/>
                <a:gd name="f136" fmla="*/ 25 1 f104"/>
                <a:gd name="f137" fmla="*/ 116 1 f105"/>
                <a:gd name="f138" fmla="*/ 16 1 f104"/>
                <a:gd name="f139" fmla="*/ 136 1 f105"/>
                <a:gd name="f140" fmla="*/ 2 1 f104"/>
                <a:gd name="f141" fmla="*/ 154 1 f105"/>
                <a:gd name="f142" fmla="*/ 0 1 f104"/>
                <a:gd name="f143" fmla="*/ 169 1 f105"/>
                <a:gd name="f144" fmla="*/ 12 1 f104"/>
                <a:gd name="f145" fmla="*/ 181 1 f105"/>
                <a:gd name="f146" fmla="*/ 196 1 f105"/>
                <a:gd name="f147" fmla="*/ 20 1 f104"/>
                <a:gd name="f148" fmla="*/ 203 1 f105"/>
                <a:gd name="f149" fmla="*/ 45 1 f104"/>
                <a:gd name="f150" fmla="*/ 208 1 f105"/>
                <a:gd name="f151" fmla="*/ 232 1 f105"/>
                <a:gd name="f152" fmla="*/ 65 1 f104"/>
                <a:gd name="f153" fmla="*/ 243 1 f105"/>
                <a:gd name="f154" fmla="*/ 79 1 f104"/>
                <a:gd name="f155" fmla="*/ 257 1 f105"/>
                <a:gd name="f156" fmla="*/ 106 1 f104"/>
                <a:gd name="f157" fmla="*/ 261 1 f105"/>
                <a:gd name="f158" fmla="*/ 119 1 f104"/>
                <a:gd name="f159" fmla="*/ 248 1 f105"/>
                <a:gd name="f160" fmla="*/ 139 1 f104"/>
                <a:gd name="f161" fmla="*/ 238 1 f105"/>
                <a:gd name="f162" fmla="*/ 228 1 f105"/>
                <a:gd name="f163" fmla="*/ 171 1 f104"/>
                <a:gd name="f164" fmla="*/ 214 1 f105"/>
                <a:gd name="f165" fmla="*/ 193 1 f104"/>
                <a:gd name="f166" fmla="*/ 220 1 f104"/>
                <a:gd name="f167" fmla="*/ 198 1 f105"/>
                <a:gd name="f168" fmla="*/ f6 1 f104"/>
                <a:gd name="f169" fmla="*/ f7 1 f105"/>
                <a:gd name="f170" fmla="+- f106 0 f1"/>
                <a:gd name="f171" fmla="*/ f142 f99 1"/>
                <a:gd name="f172" fmla="*/ f168 f99 1"/>
                <a:gd name="f173" fmla="*/ f169 f100 1"/>
                <a:gd name="f174" fmla="*/ f124 f100 1"/>
                <a:gd name="f175" fmla="*/ f107 f99 1"/>
                <a:gd name="f176" fmla="*/ f108 f100 1"/>
                <a:gd name="f177" fmla="*/ f109 f99 1"/>
                <a:gd name="f178" fmla="*/ f110 f100 1"/>
                <a:gd name="f179" fmla="*/ f111 f99 1"/>
                <a:gd name="f180" fmla="*/ f112 f100 1"/>
                <a:gd name="f181" fmla="*/ f113 f99 1"/>
                <a:gd name="f182" fmla="*/ f114 f100 1"/>
                <a:gd name="f183" fmla="*/ f115 f99 1"/>
                <a:gd name="f184" fmla="*/ f116 f100 1"/>
                <a:gd name="f185" fmla="*/ f117 f99 1"/>
                <a:gd name="f186" fmla="*/ f118 f100 1"/>
                <a:gd name="f187" fmla="*/ f119 f99 1"/>
                <a:gd name="f188" fmla="*/ f120 f100 1"/>
                <a:gd name="f189" fmla="*/ f121 f99 1"/>
                <a:gd name="f190" fmla="*/ f122 f100 1"/>
                <a:gd name="f191" fmla="*/ f123 f99 1"/>
                <a:gd name="f192" fmla="*/ f125 f99 1"/>
                <a:gd name="f193" fmla="*/ f126 f100 1"/>
                <a:gd name="f194" fmla="*/ f127 f99 1"/>
                <a:gd name="f195" fmla="*/ f128 f100 1"/>
                <a:gd name="f196" fmla="*/ f129 f99 1"/>
                <a:gd name="f197" fmla="*/ f130 f100 1"/>
                <a:gd name="f198" fmla="*/ f131 f99 1"/>
                <a:gd name="f199" fmla="*/ f132 f99 1"/>
                <a:gd name="f200" fmla="*/ f133 f100 1"/>
                <a:gd name="f201" fmla="*/ f134 f99 1"/>
                <a:gd name="f202" fmla="*/ f135 f100 1"/>
                <a:gd name="f203" fmla="*/ f136 f99 1"/>
                <a:gd name="f204" fmla="*/ f137 f100 1"/>
                <a:gd name="f205" fmla="*/ f138 f99 1"/>
                <a:gd name="f206" fmla="*/ f139 f100 1"/>
                <a:gd name="f207" fmla="*/ f140 f99 1"/>
                <a:gd name="f208" fmla="*/ f141 f100 1"/>
                <a:gd name="f209" fmla="*/ f143 f100 1"/>
                <a:gd name="f210" fmla="*/ f144 f99 1"/>
                <a:gd name="f211" fmla="*/ f145 f100 1"/>
                <a:gd name="f212" fmla="*/ f146 f100 1"/>
                <a:gd name="f213" fmla="*/ f147 f99 1"/>
                <a:gd name="f214" fmla="*/ f148 f100 1"/>
                <a:gd name="f215" fmla="*/ f149 f99 1"/>
                <a:gd name="f216" fmla="*/ f150 f100 1"/>
                <a:gd name="f217" fmla="*/ f151 f100 1"/>
                <a:gd name="f218" fmla="*/ f152 f99 1"/>
                <a:gd name="f219" fmla="*/ f153 f100 1"/>
                <a:gd name="f220" fmla="*/ f154 f99 1"/>
                <a:gd name="f221" fmla="*/ f155 f100 1"/>
                <a:gd name="f222" fmla="*/ f156 f99 1"/>
                <a:gd name="f223" fmla="*/ f157 f100 1"/>
                <a:gd name="f224" fmla="*/ f158 f99 1"/>
                <a:gd name="f225" fmla="*/ f159 f100 1"/>
                <a:gd name="f226" fmla="*/ f160 f99 1"/>
                <a:gd name="f227" fmla="*/ f161 f100 1"/>
                <a:gd name="f228" fmla="*/ f162 f100 1"/>
                <a:gd name="f229" fmla="*/ f163 f99 1"/>
                <a:gd name="f230" fmla="*/ f164 f100 1"/>
                <a:gd name="f231" fmla="*/ f165 f99 1"/>
                <a:gd name="f232" fmla="*/ f166 f99 1"/>
                <a:gd name="f233" fmla="*/ f167 f10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70">
                  <a:pos x="f175" y="f176"/>
                </a:cxn>
                <a:cxn ang="f170">
                  <a:pos x="f177" y="f178"/>
                </a:cxn>
                <a:cxn ang="f170">
                  <a:pos x="f179" y="f180"/>
                </a:cxn>
                <a:cxn ang="f170">
                  <a:pos x="f181" y="f182"/>
                </a:cxn>
                <a:cxn ang="f170">
                  <a:pos x="f183" y="f184"/>
                </a:cxn>
                <a:cxn ang="f170">
                  <a:pos x="f185" y="f186"/>
                </a:cxn>
                <a:cxn ang="f170">
                  <a:pos x="f187" y="f188"/>
                </a:cxn>
                <a:cxn ang="f170">
                  <a:pos x="f189" y="f190"/>
                </a:cxn>
                <a:cxn ang="f170">
                  <a:pos x="f191" y="f174"/>
                </a:cxn>
                <a:cxn ang="f170">
                  <a:pos x="f192" y="f193"/>
                </a:cxn>
                <a:cxn ang="f170">
                  <a:pos x="f194" y="f195"/>
                </a:cxn>
                <a:cxn ang="f170">
                  <a:pos x="f196" y="f197"/>
                </a:cxn>
                <a:cxn ang="f170">
                  <a:pos x="f198" y="f184"/>
                </a:cxn>
                <a:cxn ang="f170">
                  <a:pos x="f199" y="f200"/>
                </a:cxn>
                <a:cxn ang="f170">
                  <a:pos x="f201" y="f202"/>
                </a:cxn>
                <a:cxn ang="f170">
                  <a:pos x="f203" y="f204"/>
                </a:cxn>
                <a:cxn ang="f170">
                  <a:pos x="f205" y="f206"/>
                </a:cxn>
                <a:cxn ang="f170">
                  <a:pos x="f207" y="f208"/>
                </a:cxn>
                <a:cxn ang="f170">
                  <a:pos x="f171" y="f209"/>
                </a:cxn>
                <a:cxn ang="f170">
                  <a:pos x="f210" y="f211"/>
                </a:cxn>
                <a:cxn ang="f170">
                  <a:pos x="f171" y="f212"/>
                </a:cxn>
                <a:cxn ang="f170">
                  <a:pos x="f213" y="f214"/>
                </a:cxn>
                <a:cxn ang="f170">
                  <a:pos x="f215" y="f216"/>
                </a:cxn>
                <a:cxn ang="f170">
                  <a:pos x="f194" y="f217"/>
                </a:cxn>
                <a:cxn ang="f170">
                  <a:pos x="f218" y="f219"/>
                </a:cxn>
                <a:cxn ang="f170">
                  <a:pos x="f220" y="f221"/>
                </a:cxn>
                <a:cxn ang="f170">
                  <a:pos x="f222" y="f223"/>
                </a:cxn>
                <a:cxn ang="f170">
                  <a:pos x="f224" y="f225"/>
                </a:cxn>
                <a:cxn ang="f170">
                  <a:pos x="f226" y="f227"/>
                </a:cxn>
                <a:cxn ang="f170">
                  <a:pos x="f179" y="f228"/>
                </a:cxn>
                <a:cxn ang="f170">
                  <a:pos x="f229" y="f230"/>
                </a:cxn>
                <a:cxn ang="f170">
                  <a:pos x="f231" y="f230"/>
                </a:cxn>
                <a:cxn ang="f170">
                  <a:pos x="f232" y="f233"/>
                </a:cxn>
              </a:cxnLst>
              <a:rect l="f171" t="f174" r="f172" b="f173"/>
              <a:pathLst>
                <a:path w="220" h="261">
                  <a:moveTo>
                    <a:pt x="f6" y="f8"/>
                  </a:move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3" y="f25"/>
                  </a:lnTo>
                  <a:lnTo>
                    <a:pt x="f26" y="f27"/>
                  </a:lnTo>
                  <a:lnTo>
                    <a:pt x="f28" y="f29"/>
                  </a:lnTo>
                  <a:lnTo>
                    <a:pt x="f30" y="f31"/>
                  </a:lnTo>
                  <a:lnTo>
                    <a:pt x="f32" y="f33"/>
                  </a:lnTo>
                  <a:lnTo>
                    <a:pt x="f34" y="f35"/>
                  </a:lnTo>
                  <a:lnTo>
                    <a:pt x="f36" y="f35"/>
                  </a:lnTo>
                  <a:lnTo>
                    <a:pt x="f37" y="f35"/>
                  </a:lnTo>
                  <a:lnTo>
                    <a:pt x="f37" y="f5"/>
                  </a:lnTo>
                  <a:lnTo>
                    <a:pt x="f38" y="f39"/>
                  </a:lnTo>
                  <a:lnTo>
                    <a:pt x="f40" y="f41"/>
                  </a:lnTo>
                  <a:lnTo>
                    <a:pt x="f42" y="f43"/>
                  </a:lnTo>
                  <a:lnTo>
                    <a:pt x="f44" y="f45"/>
                  </a:lnTo>
                  <a:lnTo>
                    <a:pt x="f38" y="f40"/>
                  </a:lnTo>
                  <a:lnTo>
                    <a:pt x="f46" y="f47"/>
                  </a:lnTo>
                  <a:lnTo>
                    <a:pt x="f27" y="f48"/>
                  </a:lnTo>
                  <a:lnTo>
                    <a:pt x="f49" y="f25"/>
                  </a:lnTo>
                  <a:lnTo>
                    <a:pt x="f50" y="f51"/>
                  </a:lnTo>
                  <a:lnTo>
                    <a:pt x="f52" y="f53"/>
                  </a:lnTo>
                  <a:lnTo>
                    <a:pt x="f33" y="f54"/>
                  </a:lnTo>
                  <a:lnTo>
                    <a:pt x="f33" y="f55"/>
                  </a:lnTo>
                  <a:lnTo>
                    <a:pt x="f52" y="f55"/>
                  </a:lnTo>
                  <a:lnTo>
                    <a:pt x="f56" y="f57"/>
                  </a:lnTo>
                  <a:lnTo>
                    <a:pt x="f58" y="f59"/>
                  </a:lnTo>
                  <a:lnTo>
                    <a:pt x="f60" y="f61"/>
                  </a:lnTo>
                  <a:lnTo>
                    <a:pt x="f62" y="f63"/>
                  </a:lnTo>
                  <a:lnTo>
                    <a:pt x="f64" y="f16"/>
                  </a:lnTo>
                  <a:lnTo>
                    <a:pt x="f65" y="f19"/>
                  </a:lnTo>
                  <a:lnTo>
                    <a:pt x="f5" y="f66"/>
                  </a:lnTo>
                  <a:lnTo>
                    <a:pt x="f58" y="f67"/>
                  </a:lnTo>
                  <a:lnTo>
                    <a:pt x="f58" y="f68"/>
                  </a:lnTo>
                  <a:lnTo>
                    <a:pt x="f39" y="f10"/>
                  </a:lnTo>
                  <a:lnTo>
                    <a:pt x="f5" y="f69"/>
                  </a:lnTo>
                  <a:lnTo>
                    <a:pt x="f39" y="f70"/>
                  </a:lnTo>
                  <a:lnTo>
                    <a:pt x="f71" y="f72"/>
                  </a:lnTo>
                  <a:lnTo>
                    <a:pt x="f73" y="f72"/>
                  </a:lnTo>
                  <a:lnTo>
                    <a:pt x="f42" y="f74"/>
                  </a:lnTo>
                  <a:lnTo>
                    <a:pt x="f75" y="f76"/>
                  </a:lnTo>
                  <a:lnTo>
                    <a:pt x="f44" y="f77"/>
                  </a:lnTo>
                  <a:lnTo>
                    <a:pt x="f46" y="f78"/>
                  </a:lnTo>
                  <a:lnTo>
                    <a:pt x="f79" y="f80"/>
                  </a:lnTo>
                  <a:lnTo>
                    <a:pt x="f81" y="f82"/>
                  </a:lnTo>
                  <a:lnTo>
                    <a:pt x="f83" y="f84"/>
                  </a:lnTo>
                  <a:lnTo>
                    <a:pt x="f24" y="f84"/>
                  </a:lnTo>
                  <a:lnTo>
                    <a:pt x="f85" y="f7"/>
                  </a:lnTo>
                  <a:lnTo>
                    <a:pt x="f30" y="f84"/>
                  </a:lnTo>
                  <a:lnTo>
                    <a:pt x="f86" y="f87"/>
                  </a:lnTo>
                  <a:lnTo>
                    <a:pt x="f88" y="f80"/>
                  </a:lnTo>
                  <a:lnTo>
                    <a:pt x="f89" y="f90"/>
                  </a:lnTo>
                  <a:lnTo>
                    <a:pt x="f91" y="f90"/>
                  </a:lnTo>
                  <a:lnTo>
                    <a:pt x="f17" y="f92"/>
                  </a:lnTo>
                  <a:lnTo>
                    <a:pt x="f93" y="f94"/>
                  </a:lnTo>
                  <a:lnTo>
                    <a:pt x="f15" y="f95"/>
                  </a:lnTo>
                  <a:lnTo>
                    <a:pt x="f96" y="f9"/>
                  </a:lnTo>
                  <a:lnTo>
                    <a:pt x="f97" y="f95"/>
                  </a:lnTo>
                  <a:lnTo>
                    <a:pt x="f74" y="f70"/>
                  </a:lnTo>
                  <a:lnTo>
                    <a:pt x="f6" y="f8"/>
                  </a:lnTo>
                  <a:close/>
                </a:path>
              </a:pathLst>
            </a:custGeom>
            <a:solidFill>
              <a:srgbClr val="D9D9D9"/>
            </a:solidFill>
            <a:ln w="6345" cap="flat">
              <a:solidFill>
                <a:srgbClr val="A6A6A6"/>
              </a:solidFill>
              <a:prstDash val="solid"/>
              <a:round/>
            </a:ln>
          </p:spPr>
          <p:txBody>
            <a:bodyPr vert="horz" wrap="square" lIns="68580" tIns="34290" rIns="68580" bIns="3429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290" rtl="0" fontAlgn="auto" hangingPunct="1">
                <a:lnSpc>
                  <a:spcPct val="100000"/>
                </a:lnSpc>
                <a:spcBef>
                  <a:spcPts val="50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000" b="0" i="0" u="none" strike="noStrike" kern="0" cap="none" spc="0" baseline="0">
                <a:solidFill>
                  <a:srgbClr val="133B9C"/>
                </a:solidFill>
                <a:highlight>
                  <a:srgbClr val="008556"/>
                </a:highlight>
                <a:uFillTx/>
                <a:latin typeface="Arial"/>
              </a:endParaRPr>
            </a:p>
          </p:txBody>
        </p:sp>
        <p:sp>
          <p:nvSpPr>
            <p:cNvPr id="10" name="Freeform 151">
              <a:extLst>
                <a:ext uri="{FF2B5EF4-FFF2-40B4-BE49-F238E27FC236}">
                  <a16:creationId xmlns:a16="http://schemas.microsoft.com/office/drawing/2014/main" id="{145BDAE2-3630-742E-99CB-235BEFAAB44B}"/>
                </a:ext>
              </a:extLst>
            </p:cNvPr>
            <p:cNvSpPr/>
            <p:nvPr/>
          </p:nvSpPr>
          <p:spPr>
            <a:xfrm>
              <a:off x="4251347" y="2666353"/>
              <a:ext cx="260969" cy="446510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79"/>
                <a:gd name="f7" fmla="val 533"/>
                <a:gd name="f8" fmla="val 23"/>
                <a:gd name="f9" fmla="val 56"/>
                <a:gd name="f10" fmla="val 10"/>
                <a:gd name="f11" fmla="val 65"/>
                <a:gd name="f12" fmla="val 80"/>
                <a:gd name="f13" fmla="val 13"/>
                <a:gd name="f14" fmla="val 92"/>
                <a:gd name="f15" fmla="val 4"/>
                <a:gd name="f16" fmla="val 105"/>
                <a:gd name="f17" fmla="val 8"/>
                <a:gd name="f18" fmla="val 118"/>
                <a:gd name="f19" fmla="val 134"/>
                <a:gd name="f20" fmla="val 138"/>
                <a:gd name="f21" fmla="val 29"/>
                <a:gd name="f22" fmla="val 34"/>
                <a:gd name="f23" fmla="val 152"/>
                <a:gd name="f24" fmla="val 40"/>
                <a:gd name="f25" fmla="val 179"/>
                <a:gd name="f26" fmla="val 38"/>
                <a:gd name="f27" fmla="val 199"/>
                <a:gd name="f28" fmla="val 47"/>
                <a:gd name="f29" fmla="val 217"/>
                <a:gd name="f30" fmla="val 43"/>
                <a:gd name="f31" fmla="val 234"/>
                <a:gd name="f32" fmla="val 244"/>
                <a:gd name="f33" fmla="val 259"/>
                <a:gd name="f34" fmla="val 272"/>
                <a:gd name="f35" fmla="val 290"/>
                <a:gd name="f36" fmla="val 301"/>
                <a:gd name="f37" fmla="val 314"/>
                <a:gd name="f38" fmla="val 326"/>
                <a:gd name="f39" fmla="val 341"/>
                <a:gd name="f40" fmla="val 25"/>
                <a:gd name="f41" fmla="val 355"/>
                <a:gd name="f42" fmla="val 20"/>
                <a:gd name="f43" fmla="val 364"/>
                <a:gd name="f44" fmla="val 18"/>
                <a:gd name="f45" fmla="val 384"/>
                <a:gd name="f46" fmla="val 391"/>
                <a:gd name="f47" fmla="val 5"/>
                <a:gd name="f48" fmla="val 395"/>
                <a:gd name="f49" fmla="val 420"/>
                <a:gd name="f50" fmla="val 440"/>
                <a:gd name="f51" fmla="val 451"/>
                <a:gd name="f52" fmla="val 466"/>
                <a:gd name="f53" fmla="val 30"/>
                <a:gd name="f54" fmla="val 473"/>
                <a:gd name="f55" fmla="val 37"/>
                <a:gd name="f56" fmla="val 493"/>
                <a:gd name="f57" fmla="val 515"/>
                <a:gd name="f58" fmla="val 525"/>
                <a:gd name="f59" fmla="val 58"/>
                <a:gd name="f60" fmla="val 513"/>
                <a:gd name="f61" fmla="val 67"/>
                <a:gd name="f62" fmla="val 90"/>
                <a:gd name="f63" fmla="val 100"/>
                <a:gd name="f64" fmla="val 120"/>
                <a:gd name="f65" fmla="val 503"/>
                <a:gd name="f66" fmla="val 132"/>
                <a:gd name="f67" fmla="val 498"/>
                <a:gd name="f68" fmla="val 125"/>
                <a:gd name="f69" fmla="val 480"/>
                <a:gd name="f70" fmla="val 123"/>
                <a:gd name="f71" fmla="val 140"/>
                <a:gd name="f72" fmla="val 468"/>
                <a:gd name="f73" fmla="val 162"/>
                <a:gd name="f74" fmla="val 460"/>
                <a:gd name="f75" fmla="val 172"/>
                <a:gd name="f76" fmla="val 478"/>
                <a:gd name="f77" fmla="val 182"/>
                <a:gd name="f78" fmla="val 205"/>
                <a:gd name="f79" fmla="val 490"/>
                <a:gd name="f80" fmla="val 212"/>
                <a:gd name="f81" fmla="val 486"/>
                <a:gd name="f82" fmla="val 210"/>
                <a:gd name="f83" fmla="val 404"/>
                <a:gd name="f84" fmla="val 225"/>
                <a:gd name="f85" fmla="val 354"/>
                <a:gd name="f86" fmla="val 277"/>
                <a:gd name="f87" fmla="val 246"/>
                <a:gd name="f88" fmla="val 230"/>
                <a:gd name="f89" fmla="val 275"/>
                <a:gd name="f90" fmla="val 203"/>
                <a:gd name="f91" fmla="val 192"/>
                <a:gd name="f92" fmla="val 270"/>
                <a:gd name="f93" fmla="val 266"/>
                <a:gd name="f94" fmla="val 159"/>
                <a:gd name="f95" fmla="val 264"/>
                <a:gd name="f96" fmla="val 251"/>
                <a:gd name="f97" fmla="val 103"/>
                <a:gd name="f98" fmla="val 242"/>
                <a:gd name="f99" fmla="val 87"/>
                <a:gd name="f100" fmla="val 45"/>
                <a:gd name="f101" fmla="val 226"/>
                <a:gd name="f102" fmla="val 33"/>
                <a:gd name="f103" fmla="val 202"/>
                <a:gd name="f104" fmla="val 170"/>
                <a:gd name="f105" fmla="val 31"/>
                <a:gd name="f106" fmla="val 157"/>
                <a:gd name="f107" fmla="val 36"/>
                <a:gd name="f108" fmla="val 150"/>
                <a:gd name="f109" fmla="val 137"/>
                <a:gd name="f110" fmla="val 49"/>
                <a:gd name="f111" fmla="val 135"/>
                <a:gd name="f112" fmla="val 112"/>
                <a:gd name="f113" fmla="val 76"/>
                <a:gd name="f114" fmla="val 71"/>
                <a:gd name="f115" fmla="val 73"/>
                <a:gd name="f116" fmla="val 83"/>
                <a:gd name="f117" fmla="val 85"/>
                <a:gd name="f118" fmla="val 96"/>
                <a:gd name="f119" fmla="val 52"/>
                <a:gd name="f120" fmla="+- 0 0 -90"/>
                <a:gd name="f121" fmla="*/ f3 1 279"/>
                <a:gd name="f122" fmla="*/ f4 1 533"/>
                <a:gd name="f123" fmla="+- f7 0 f5"/>
                <a:gd name="f124" fmla="+- f6 0 f5"/>
                <a:gd name="f125" fmla="*/ f120 f0 1"/>
                <a:gd name="f126" fmla="*/ f124 1 279"/>
                <a:gd name="f127" fmla="*/ f123 1 533"/>
                <a:gd name="f128" fmla="*/ f125 1 f2"/>
                <a:gd name="f129" fmla="*/ 10 1 f126"/>
                <a:gd name="f130" fmla="*/ 65 1 f127"/>
                <a:gd name="f131" fmla="*/ 13 1 f126"/>
                <a:gd name="f132" fmla="*/ 92 1 f127"/>
                <a:gd name="f133" fmla="*/ 8 1 f126"/>
                <a:gd name="f134" fmla="*/ 118 1 f127"/>
                <a:gd name="f135" fmla="*/ 138 1 f127"/>
                <a:gd name="f136" fmla="*/ 34 1 f126"/>
                <a:gd name="f137" fmla="*/ 152 1 f127"/>
                <a:gd name="f138" fmla="*/ 38 1 f126"/>
                <a:gd name="f139" fmla="*/ 199 1 f127"/>
                <a:gd name="f140" fmla="*/ 43 1 f126"/>
                <a:gd name="f141" fmla="*/ 234 1 f127"/>
                <a:gd name="f142" fmla="*/ 40 1 f126"/>
                <a:gd name="f143" fmla="*/ 259 1 f127"/>
                <a:gd name="f144" fmla="*/ 29 1 f126"/>
                <a:gd name="f145" fmla="*/ 290 1 f127"/>
                <a:gd name="f146" fmla="*/ 314 1 f127"/>
                <a:gd name="f147" fmla="*/ 341 1 f127"/>
                <a:gd name="f148" fmla="*/ 20 1 f126"/>
                <a:gd name="f149" fmla="*/ 364 1 f127"/>
                <a:gd name="f150" fmla="*/ 391 1 f127"/>
                <a:gd name="f151" fmla="*/ 4 1 f126"/>
                <a:gd name="f152" fmla="*/ 420 1 f127"/>
                <a:gd name="f153" fmla="*/ 451 1 f127"/>
                <a:gd name="f154" fmla="*/ 30 1 f126"/>
                <a:gd name="f155" fmla="*/ 473 1 f127"/>
                <a:gd name="f156" fmla="*/ 515 1 f127"/>
                <a:gd name="f157" fmla="*/ 58 1 f126"/>
                <a:gd name="f158" fmla="*/ 513 1 f127"/>
                <a:gd name="f159" fmla="*/ 90 1 f126"/>
                <a:gd name="f160" fmla="*/ 533 1 f127"/>
                <a:gd name="f161" fmla="*/ 120 1 f126"/>
                <a:gd name="f162" fmla="*/ 503 1 f127"/>
                <a:gd name="f163" fmla="*/ 125 1 f126"/>
                <a:gd name="f164" fmla="*/ 480 1 f127"/>
                <a:gd name="f165" fmla="*/ 140 1 f126"/>
                <a:gd name="f166" fmla="*/ 468 1 f127"/>
                <a:gd name="f167" fmla="*/ 172 1 f126"/>
                <a:gd name="f168" fmla="*/ 478 1 f127"/>
                <a:gd name="f169" fmla="*/ 205 1 f126"/>
                <a:gd name="f170" fmla="*/ 490 1 f127"/>
                <a:gd name="f171" fmla="*/ 210 1 f126"/>
                <a:gd name="f172" fmla="*/ 404 1 f127"/>
                <a:gd name="f173" fmla="*/ 244 1 f126"/>
                <a:gd name="f174" fmla="*/ 277 1 f127"/>
                <a:gd name="f175" fmla="*/ 275 1 f126"/>
                <a:gd name="f176" fmla="*/ 203 1 f127"/>
                <a:gd name="f177" fmla="*/ 270 1 f126"/>
                <a:gd name="f178" fmla="*/ 179 1 f127"/>
                <a:gd name="f179" fmla="*/ 264 1 f126"/>
                <a:gd name="f180" fmla="*/ 140 1 f127"/>
                <a:gd name="f181" fmla="*/ 259 1 f126"/>
                <a:gd name="f182" fmla="*/ 103 1 f127"/>
                <a:gd name="f183" fmla="*/ 242 1 f126"/>
                <a:gd name="f184" fmla="*/ 45 1 f127"/>
                <a:gd name="f185" fmla="*/ 230 1 f126"/>
                <a:gd name="f186" fmla="*/ 18 1 f127"/>
                <a:gd name="f187" fmla="*/ 202 1 f126"/>
                <a:gd name="f188" fmla="*/ 20 1 f127"/>
                <a:gd name="f189" fmla="*/ 157 1 f126"/>
                <a:gd name="f190" fmla="*/ 36 1 f127"/>
                <a:gd name="f191" fmla="*/ 137 1 f126"/>
                <a:gd name="f192" fmla="*/ 49 1 f127"/>
                <a:gd name="f193" fmla="*/ 112 1 f126"/>
                <a:gd name="f194" fmla="*/ 76 1 f127"/>
                <a:gd name="f195" fmla="*/ 73 1 f127"/>
                <a:gd name="f196" fmla="*/ 67 1 f126"/>
                <a:gd name="f197" fmla="*/ 96 1 f127"/>
                <a:gd name="f198" fmla="*/ 80 1 f127"/>
                <a:gd name="f199" fmla="*/ 23 1 f126"/>
                <a:gd name="f200" fmla="*/ 0 1 f126"/>
                <a:gd name="f201" fmla="*/ f6 1 f126"/>
                <a:gd name="f202" fmla="*/ 0 1 f127"/>
                <a:gd name="f203" fmla="*/ f7 1 f127"/>
                <a:gd name="f204" fmla="+- f128 0 f1"/>
                <a:gd name="f205" fmla="*/ f200 f121 1"/>
                <a:gd name="f206" fmla="*/ f201 f121 1"/>
                <a:gd name="f207" fmla="*/ f203 f122 1"/>
                <a:gd name="f208" fmla="*/ f202 f122 1"/>
                <a:gd name="f209" fmla="*/ f129 f121 1"/>
                <a:gd name="f210" fmla="*/ f130 f122 1"/>
                <a:gd name="f211" fmla="*/ f131 f121 1"/>
                <a:gd name="f212" fmla="*/ f132 f122 1"/>
                <a:gd name="f213" fmla="*/ f133 f121 1"/>
                <a:gd name="f214" fmla="*/ f134 f122 1"/>
                <a:gd name="f215" fmla="*/ f135 f122 1"/>
                <a:gd name="f216" fmla="*/ f136 f121 1"/>
                <a:gd name="f217" fmla="*/ f137 f122 1"/>
                <a:gd name="f218" fmla="*/ f138 f121 1"/>
                <a:gd name="f219" fmla="*/ f139 f122 1"/>
                <a:gd name="f220" fmla="*/ f140 f121 1"/>
                <a:gd name="f221" fmla="*/ f141 f122 1"/>
                <a:gd name="f222" fmla="*/ f142 f121 1"/>
                <a:gd name="f223" fmla="*/ f143 f122 1"/>
                <a:gd name="f224" fmla="*/ f144 f121 1"/>
                <a:gd name="f225" fmla="*/ f145 f122 1"/>
                <a:gd name="f226" fmla="*/ f146 f122 1"/>
                <a:gd name="f227" fmla="*/ f147 f122 1"/>
                <a:gd name="f228" fmla="*/ f148 f121 1"/>
                <a:gd name="f229" fmla="*/ f149 f122 1"/>
                <a:gd name="f230" fmla="*/ f150 f122 1"/>
                <a:gd name="f231" fmla="*/ f151 f121 1"/>
                <a:gd name="f232" fmla="*/ f152 f122 1"/>
                <a:gd name="f233" fmla="*/ f153 f122 1"/>
                <a:gd name="f234" fmla="*/ f154 f121 1"/>
                <a:gd name="f235" fmla="*/ f155 f122 1"/>
                <a:gd name="f236" fmla="*/ f156 f122 1"/>
                <a:gd name="f237" fmla="*/ f157 f121 1"/>
                <a:gd name="f238" fmla="*/ f158 f122 1"/>
                <a:gd name="f239" fmla="*/ f159 f121 1"/>
                <a:gd name="f240" fmla="*/ f160 f122 1"/>
                <a:gd name="f241" fmla="*/ f161 f121 1"/>
                <a:gd name="f242" fmla="*/ f162 f122 1"/>
                <a:gd name="f243" fmla="*/ f163 f121 1"/>
                <a:gd name="f244" fmla="*/ f164 f122 1"/>
                <a:gd name="f245" fmla="*/ f165 f121 1"/>
                <a:gd name="f246" fmla="*/ f166 f122 1"/>
                <a:gd name="f247" fmla="*/ f167 f121 1"/>
                <a:gd name="f248" fmla="*/ f168 f122 1"/>
                <a:gd name="f249" fmla="*/ f169 f121 1"/>
                <a:gd name="f250" fmla="*/ f170 f122 1"/>
                <a:gd name="f251" fmla="*/ f171 f121 1"/>
                <a:gd name="f252" fmla="*/ f172 f122 1"/>
                <a:gd name="f253" fmla="*/ f173 f121 1"/>
                <a:gd name="f254" fmla="*/ f174 f122 1"/>
                <a:gd name="f255" fmla="*/ f175 f121 1"/>
                <a:gd name="f256" fmla="*/ f176 f122 1"/>
                <a:gd name="f257" fmla="*/ f177 f121 1"/>
                <a:gd name="f258" fmla="*/ f178 f122 1"/>
                <a:gd name="f259" fmla="*/ f179 f121 1"/>
                <a:gd name="f260" fmla="*/ f180 f122 1"/>
                <a:gd name="f261" fmla="*/ f181 f121 1"/>
                <a:gd name="f262" fmla="*/ f182 f122 1"/>
                <a:gd name="f263" fmla="*/ f183 f121 1"/>
                <a:gd name="f264" fmla="*/ f184 f122 1"/>
                <a:gd name="f265" fmla="*/ f185 f121 1"/>
                <a:gd name="f266" fmla="*/ f186 f122 1"/>
                <a:gd name="f267" fmla="*/ f187 f121 1"/>
                <a:gd name="f268" fmla="*/ f188 f122 1"/>
                <a:gd name="f269" fmla="*/ f189 f121 1"/>
                <a:gd name="f270" fmla="*/ f190 f122 1"/>
                <a:gd name="f271" fmla="*/ f191 f121 1"/>
                <a:gd name="f272" fmla="*/ f192 f122 1"/>
                <a:gd name="f273" fmla="*/ f193 f121 1"/>
                <a:gd name="f274" fmla="*/ f194 f122 1"/>
                <a:gd name="f275" fmla="*/ f195 f122 1"/>
                <a:gd name="f276" fmla="*/ f196 f121 1"/>
                <a:gd name="f277" fmla="*/ f197 f122 1"/>
                <a:gd name="f278" fmla="*/ f198 f122 1"/>
                <a:gd name="f279" fmla="*/ f199 f12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04">
                  <a:pos x="f209" y="f210"/>
                </a:cxn>
                <a:cxn ang="f204">
                  <a:pos x="f211" y="f212"/>
                </a:cxn>
                <a:cxn ang="f204">
                  <a:pos x="f213" y="f214"/>
                </a:cxn>
                <a:cxn ang="f204">
                  <a:pos x="f209" y="f215"/>
                </a:cxn>
                <a:cxn ang="f204">
                  <a:pos x="f216" y="f217"/>
                </a:cxn>
                <a:cxn ang="f204">
                  <a:pos x="f218" y="f219"/>
                </a:cxn>
                <a:cxn ang="f204">
                  <a:pos x="f220" y="f221"/>
                </a:cxn>
                <a:cxn ang="f204">
                  <a:pos x="f222" y="f223"/>
                </a:cxn>
                <a:cxn ang="f204">
                  <a:pos x="f224" y="f225"/>
                </a:cxn>
                <a:cxn ang="f204">
                  <a:pos x="f218" y="f226"/>
                </a:cxn>
                <a:cxn ang="f204">
                  <a:pos x="f222" y="f227"/>
                </a:cxn>
                <a:cxn ang="f204">
                  <a:pos x="f228" y="f229"/>
                </a:cxn>
                <a:cxn ang="f204">
                  <a:pos x="f211" y="f230"/>
                </a:cxn>
                <a:cxn ang="f204">
                  <a:pos x="f231" y="f232"/>
                </a:cxn>
                <a:cxn ang="f204">
                  <a:pos x="f213" y="f233"/>
                </a:cxn>
                <a:cxn ang="f204">
                  <a:pos x="f234" y="f235"/>
                </a:cxn>
                <a:cxn ang="f204">
                  <a:pos x="f218" y="f236"/>
                </a:cxn>
                <a:cxn ang="f204">
                  <a:pos x="f237" y="f238"/>
                </a:cxn>
                <a:cxn ang="f204">
                  <a:pos x="f239" y="f240"/>
                </a:cxn>
                <a:cxn ang="f204">
                  <a:pos x="f241" y="f242"/>
                </a:cxn>
                <a:cxn ang="f204">
                  <a:pos x="f243" y="f244"/>
                </a:cxn>
                <a:cxn ang="f204">
                  <a:pos x="f245" y="f246"/>
                </a:cxn>
                <a:cxn ang="f204">
                  <a:pos x="f247" y="f248"/>
                </a:cxn>
                <a:cxn ang="f204">
                  <a:pos x="f249" y="f250"/>
                </a:cxn>
                <a:cxn ang="f204">
                  <a:pos x="f251" y="f252"/>
                </a:cxn>
                <a:cxn ang="f204">
                  <a:pos x="f253" y="f254"/>
                </a:cxn>
                <a:cxn ang="f204">
                  <a:pos x="f255" y="f256"/>
                </a:cxn>
                <a:cxn ang="f204">
                  <a:pos x="f257" y="f258"/>
                </a:cxn>
                <a:cxn ang="f204">
                  <a:pos x="f259" y="f260"/>
                </a:cxn>
                <a:cxn ang="f204">
                  <a:pos x="f261" y="f262"/>
                </a:cxn>
                <a:cxn ang="f204">
                  <a:pos x="f263" y="f264"/>
                </a:cxn>
                <a:cxn ang="f204">
                  <a:pos x="f265" y="f266"/>
                </a:cxn>
                <a:cxn ang="f204">
                  <a:pos x="f267" y="f266"/>
                </a:cxn>
                <a:cxn ang="f204">
                  <a:pos x="f247" y="f268"/>
                </a:cxn>
                <a:cxn ang="f204">
                  <a:pos x="f269" y="f270"/>
                </a:cxn>
                <a:cxn ang="f204">
                  <a:pos x="f271" y="f272"/>
                </a:cxn>
                <a:cxn ang="f204">
                  <a:pos x="f273" y="f274"/>
                </a:cxn>
                <a:cxn ang="f204">
                  <a:pos x="f239" y="f275"/>
                </a:cxn>
                <a:cxn ang="f204">
                  <a:pos x="f276" y="f277"/>
                </a:cxn>
                <a:cxn ang="f204">
                  <a:pos x="f222" y="f278"/>
                </a:cxn>
                <a:cxn ang="f204">
                  <a:pos x="f279" y="f275"/>
                </a:cxn>
              </a:cxnLst>
              <a:rect l="f205" t="f208" r="f206" b="f207"/>
              <a:pathLst>
                <a:path w="279" h="533">
                  <a:moveTo>
                    <a:pt x="f8" y="f9"/>
                  </a:moveTo>
                  <a:lnTo>
                    <a:pt x="f10" y="f11"/>
                  </a:lnTo>
                  <a:lnTo>
                    <a:pt x="f10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5" y="f19"/>
                  </a:lnTo>
                  <a:lnTo>
                    <a:pt x="f10" y="f20"/>
                  </a:lnTo>
                  <a:lnTo>
                    <a:pt x="f21" y="f19"/>
                  </a:lnTo>
                  <a:lnTo>
                    <a:pt x="f22" y="f23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28" y="f29"/>
                  </a:lnTo>
                  <a:lnTo>
                    <a:pt x="f30" y="f31"/>
                  </a:lnTo>
                  <a:lnTo>
                    <a:pt x="f24" y="f32"/>
                  </a:lnTo>
                  <a:lnTo>
                    <a:pt x="f24" y="f33"/>
                  </a:lnTo>
                  <a:lnTo>
                    <a:pt x="f21" y="f34"/>
                  </a:lnTo>
                  <a:lnTo>
                    <a:pt x="f21" y="f35"/>
                  </a:lnTo>
                  <a:lnTo>
                    <a:pt x="f21" y="f36"/>
                  </a:lnTo>
                  <a:lnTo>
                    <a:pt x="f26" y="f37"/>
                  </a:lnTo>
                  <a:lnTo>
                    <a:pt x="f24" y="f38"/>
                  </a:lnTo>
                  <a:lnTo>
                    <a:pt x="f24" y="f39"/>
                  </a:lnTo>
                  <a:lnTo>
                    <a:pt x="f40" y="f41"/>
                  </a:lnTo>
                  <a:lnTo>
                    <a:pt x="f42" y="f43"/>
                  </a:lnTo>
                  <a:lnTo>
                    <a:pt x="f44" y="f45"/>
                  </a:lnTo>
                  <a:lnTo>
                    <a:pt x="f13" y="f46"/>
                  </a:lnTo>
                  <a:lnTo>
                    <a:pt x="f47" y="f48"/>
                  </a:lnTo>
                  <a:lnTo>
                    <a:pt x="f15" y="f49"/>
                  </a:lnTo>
                  <a:lnTo>
                    <a:pt x="f5" y="f50"/>
                  </a:lnTo>
                  <a:lnTo>
                    <a:pt x="f17" y="f51"/>
                  </a:lnTo>
                  <a:lnTo>
                    <a:pt x="f42" y="f52"/>
                  </a:lnTo>
                  <a:lnTo>
                    <a:pt x="f53" y="f54"/>
                  </a:lnTo>
                  <a:lnTo>
                    <a:pt x="f55" y="f56"/>
                  </a:lnTo>
                  <a:lnTo>
                    <a:pt x="f26" y="f57"/>
                  </a:lnTo>
                  <a:lnTo>
                    <a:pt x="f28" y="f58"/>
                  </a:lnTo>
                  <a:lnTo>
                    <a:pt x="f59" y="f60"/>
                  </a:lnTo>
                  <a:lnTo>
                    <a:pt x="f61" y="f60"/>
                  </a:lnTo>
                  <a:lnTo>
                    <a:pt x="f62" y="f7"/>
                  </a:lnTo>
                  <a:lnTo>
                    <a:pt x="f63" y="f57"/>
                  </a:lnTo>
                  <a:lnTo>
                    <a:pt x="f64" y="f65"/>
                  </a:lnTo>
                  <a:lnTo>
                    <a:pt x="f66" y="f67"/>
                  </a:lnTo>
                  <a:lnTo>
                    <a:pt x="f68" y="f69"/>
                  </a:lnTo>
                  <a:lnTo>
                    <a:pt x="f70" y="f52"/>
                  </a:lnTo>
                  <a:lnTo>
                    <a:pt x="f71" y="f72"/>
                  </a:lnTo>
                  <a:lnTo>
                    <a:pt x="f73" y="f74"/>
                  </a:lnTo>
                  <a:lnTo>
                    <a:pt x="f75" y="f76"/>
                  </a:lnTo>
                  <a:lnTo>
                    <a:pt x="f77" y="f69"/>
                  </a:lnTo>
                  <a:lnTo>
                    <a:pt x="f78" y="f79"/>
                  </a:lnTo>
                  <a:lnTo>
                    <a:pt x="f80" y="f81"/>
                  </a:lnTo>
                  <a:lnTo>
                    <a:pt x="f82" y="f83"/>
                  </a:lnTo>
                  <a:lnTo>
                    <a:pt x="f84" y="f85"/>
                  </a:lnTo>
                  <a:lnTo>
                    <a:pt x="f32" y="f86"/>
                  </a:lnTo>
                  <a:lnTo>
                    <a:pt x="f87" y="f88"/>
                  </a:lnTo>
                  <a:lnTo>
                    <a:pt x="f89" y="f90"/>
                  </a:lnTo>
                  <a:lnTo>
                    <a:pt x="f6" y="f91"/>
                  </a:lnTo>
                  <a:lnTo>
                    <a:pt x="f92" y="f25"/>
                  </a:lnTo>
                  <a:lnTo>
                    <a:pt x="f93" y="f94"/>
                  </a:lnTo>
                  <a:lnTo>
                    <a:pt x="f95" y="f71"/>
                  </a:lnTo>
                  <a:lnTo>
                    <a:pt x="f96" y="f64"/>
                  </a:lnTo>
                  <a:lnTo>
                    <a:pt x="f33" y="f97"/>
                  </a:lnTo>
                  <a:lnTo>
                    <a:pt x="f98" y="f99"/>
                  </a:lnTo>
                  <a:lnTo>
                    <a:pt x="f98" y="f100"/>
                  </a:lnTo>
                  <a:lnTo>
                    <a:pt x="f101" y="f102"/>
                  </a:lnTo>
                  <a:lnTo>
                    <a:pt x="f88" y="f44"/>
                  </a:lnTo>
                  <a:lnTo>
                    <a:pt x="f80" y="f13"/>
                  </a:lnTo>
                  <a:lnTo>
                    <a:pt x="f103" y="f44"/>
                  </a:lnTo>
                  <a:lnTo>
                    <a:pt x="f91" y="f5"/>
                  </a:lnTo>
                  <a:lnTo>
                    <a:pt x="f75" y="f42"/>
                  </a:lnTo>
                  <a:lnTo>
                    <a:pt x="f104" y="f105"/>
                  </a:lnTo>
                  <a:lnTo>
                    <a:pt x="f106" y="f107"/>
                  </a:lnTo>
                  <a:lnTo>
                    <a:pt x="f108" y="f102"/>
                  </a:lnTo>
                  <a:lnTo>
                    <a:pt x="f109" y="f110"/>
                  </a:lnTo>
                  <a:lnTo>
                    <a:pt x="f111" y="f59"/>
                  </a:lnTo>
                  <a:lnTo>
                    <a:pt x="f112" y="f113"/>
                  </a:lnTo>
                  <a:lnTo>
                    <a:pt x="f16" y="f114"/>
                  </a:lnTo>
                  <a:lnTo>
                    <a:pt x="f62" y="f115"/>
                  </a:lnTo>
                  <a:lnTo>
                    <a:pt x="f116" y="f117"/>
                  </a:lnTo>
                  <a:lnTo>
                    <a:pt x="f61" y="f118"/>
                  </a:lnTo>
                  <a:lnTo>
                    <a:pt x="f119" y="f14"/>
                  </a:lnTo>
                  <a:lnTo>
                    <a:pt x="f24" y="f12"/>
                  </a:lnTo>
                  <a:lnTo>
                    <a:pt x="f102" y="f12"/>
                  </a:lnTo>
                  <a:lnTo>
                    <a:pt x="f8" y="f115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D9D9D9"/>
            </a:solidFill>
            <a:ln w="6345" cap="flat">
              <a:solidFill>
                <a:srgbClr val="A6A6A6"/>
              </a:solidFill>
              <a:prstDash val="solid"/>
              <a:round/>
            </a:ln>
          </p:spPr>
          <p:txBody>
            <a:bodyPr vert="horz" wrap="square" lIns="68580" tIns="34290" rIns="68580" bIns="3429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290" rtl="0" fontAlgn="auto" hangingPunct="1">
                <a:lnSpc>
                  <a:spcPct val="100000"/>
                </a:lnSpc>
                <a:spcBef>
                  <a:spcPts val="50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000" b="0" i="0" u="none" strike="noStrike" kern="0" cap="none" spc="0" baseline="0">
                <a:solidFill>
                  <a:srgbClr val="133B9C"/>
                </a:solidFill>
                <a:highlight>
                  <a:srgbClr val="008556"/>
                </a:highlight>
                <a:uFillTx/>
                <a:latin typeface="Arial"/>
              </a:endParaRPr>
            </a:p>
          </p:txBody>
        </p:sp>
        <p:sp>
          <p:nvSpPr>
            <p:cNvPr id="11" name="Freeform 153">
              <a:extLst>
                <a:ext uri="{FF2B5EF4-FFF2-40B4-BE49-F238E27FC236}">
                  <a16:creationId xmlns:a16="http://schemas.microsoft.com/office/drawing/2014/main" id="{3F371CDC-DA55-59AA-0485-3BCC0E9F3301}"/>
                </a:ext>
              </a:extLst>
            </p:cNvPr>
            <p:cNvSpPr/>
            <p:nvPr/>
          </p:nvSpPr>
          <p:spPr>
            <a:xfrm>
              <a:off x="5365882" y="2742020"/>
              <a:ext cx="227301" cy="22451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43"/>
                <a:gd name="f7" fmla="val 268"/>
                <a:gd name="f8" fmla="val 190"/>
                <a:gd name="f9" fmla="val 226"/>
                <a:gd name="f10" fmla="val 215"/>
                <a:gd name="f11" fmla="val 194"/>
                <a:gd name="f12" fmla="val 213"/>
                <a:gd name="f13" fmla="val 184"/>
                <a:gd name="f14" fmla="val 230"/>
                <a:gd name="f15" fmla="val 164"/>
                <a:gd name="f16" fmla="val 159"/>
                <a:gd name="f17" fmla="val 228"/>
                <a:gd name="f18" fmla="val 137"/>
                <a:gd name="f19" fmla="val 110"/>
                <a:gd name="f20" fmla="val 210"/>
                <a:gd name="f21" fmla="val 87"/>
                <a:gd name="f22" fmla="val 199"/>
                <a:gd name="f23" fmla="val 84"/>
                <a:gd name="f24" fmla="val 163"/>
                <a:gd name="f25" fmla="val 90"/>
                <a:gd name="f26" fmla="val 154"/>
                <a:gd name="f27" fmla="val 72"/>
                <a:gd name="f28" fmla="val 58"/>
                <a:gd name="f29" fmla="val 146"/>
                <a:gd name="f30" fmla="val 50"/>
                <a:gd name="f31" fmla="val 131"/>
                <a:gd name="f32" fmla="val 114"/>
                <a:gd name="f33" fmla="val 39"/>
                <a:gd name="f34" fmla="val 101"/>
                <a:gd name="f35" fmla="val 19"/>
                <a:gd name="f36" fmla="val 96"/>
                <a:gd name="f37" fmla="val 5"/>
                <a:gd name="f38" fmla="val 71"/>
                <a:gd name="f39" fmla="val 10"/>
                <a:gd name="f40" fmla="val 42"/>
                <a:gd name="f41" fmla="val 7"/>
                <a:gd name="f42" fmla="val 27"/>
                <a:gd name="f43" fmla="val 38"/>
                <a:gd name="f44" fmla="val 22"/>
                <a:gd name="f45" fmla="val 43"/>
                <a:gd name="f46" fmla="val 4"/>
                <a:gd name="f47" fmla="val 45"/>
                <a:gd name="f48" fmla="val 54"/>
                <a:gd name="f49" fmla="val 16"/>
                <a:gd name="f50" fmla="val 70"/>
                <a:gd name="f51" fmla="val 15"/>
                <a:gd name="f52" fmla="val 107"/>
                <a:gd name="f53" fmla="val 31"/>
                <a:gd name="f54" fmla="val 132"/>
                <a:gd name="f55" fmla="val 40"/>
                <a:gd name="f56" fmla="val 152"/>
                <a:gd name="f57" fmla="val 49"/>
                <a:gd name="f58" fmla="val 179"/>
                <a:gd name="f59" fmla="val 51"/>
                <a:gd name="f60" fmla="val 44"/>
                <a:gd name="f61" fmla="val 211"/>
                <a:gd name="f62" fmla="val 224"/>
                <a:gd name="f63" fmla="val 29"/>
                <a:gd name="f64" fmla="val 234"/>
                <a:gd name="f65" fmla="val 55"/>
                <a:gd name="f66" fmla="val 251"/>
                <a:gd name="f67" fmla="val 253"/>
                <a:gd name="f68" fmla="val 82"/>
                <a:gd name="f69" fmla="val 246"/>
                <a:gd name="f70" fmla="val 111"/>
                <a:gd name="f71" fmla="val 121"/>
                <a:gd name="f72" fmla="val 260"/>
                <a:gd name="f73" fmla="val 143"/>
                <a:gd name="f74" fmla="val 259"/>
                <a:gd name="f75" fmla="val 235"/>
                <a:gd name="f76" fmla="val 166"/>
                <a:gd name="f77" fmla="val 219"/>
                <a:gd name="f78" fmla="+- 0 0 -90"/>
                <a:gd name="f79" fmla="*/ f3 1 243"/>
                <a:gd name="f80" fmla="*/ f4 1 268"/>
                <a:gd name="f81" fmla="+- f7 0 f5"/>
                <a:gd name="f82" fmla="+- f6 0 f5"/>
                <a:gd name="f83" fmla="*/ f78 f0 1"/>
                <a:gd name="f84" fmla="*/ f82 1 243"/>
                <a:gd name="f85" fmla="*/ f81 1 268"/>
                <a:gd name="f86" fmla="*/ f83 1 f2"/>
                <a:gd name="f87" fmla="*/ 190 1 f84"/>
                <a:gd name="f88" fmla="*/ 226 1 f85"/>
                <a:gd name="f89" fmla="*/ 215 1 f84"/>
                <a:gd name="f90" fmla="*/ 194 1 f85"/>
                <a:gd name="f91" fmla="*/ 213 1 f84"/>
                <a:gd name="f92" fmla="*/ 184 1 f85"/>
                <a:gd name="f93" fmla="*/ 230 1 f84"/>
                <a:gd name="f94" fmla="*/ 164 1 f85"/>
                <a:gd name="f95" fmla="*/ 243 1 f84"/>
                <a:gd name="f96" fmla="*/ 159 1 f85"/>
                <a:gd name="f97" fmla="*/ 228 1 f84"/>
                <a:gd name="f98" fmla="*/ 137 1 f85"/>
                <a:gd name="f99" fmla="*/ 110 1 f85"/>
                <a:gd name="f100" fmla="*/ 210 1 f84"/>
                <a:gd name="f101" fmla="*/ 87 1 f85"/>
                <a:gd name="f102" fmla="*/ 199 1 f84"/>
                <a:gd name="f103" fmla="*/ 84 1 f85"/>
                <a:gd name="f104" fmla="*/ 163 1 f84"/>
                <a:gd name="f105" fmla="*/ 90 1 f85"/>
                <a:gd name="f106" fmla="*/ 154 1 f84"/>
                <a:gd name="f107" fmla="*/ 72 1 f85"/>
                <a:gd name="f108" fmla="*/ 58 1 f85"/>
                <a:gd name="f109" fmla="*/ 146 1 f84"/>
                <a:gd name="f110" fmla="*/ 50 1 f85"/>
                <a:gd name="f111" fmla="*/ 131 1 f84"/>
                <a:gd name="f112" fmla="*/ 114 1 f84"/>
                <a:gd name="f113" fmla="*/ 39 1 f85"/>
                <a:gd name="f114" fmla="*/ 101 1 f84"/>
                <a:gd name="f115" fmla="*/ 19 1 f85"/>
                <a:gd name="f116" fmla="*/ 96 1 f84"/>
                <a:gd name="f117" fmla="*/ 5 1 f85"/>
                <a:gd name="f118" fmla="*/ 87 1 f84"/>
                <a:gd name="f119" fmla="*/ 0 1 f85"/>
                <a:gd name="f120" fmla="*/ 71 1 f84"/>
                <a:gd name="f121" fmla="*/ 10 1 f85"/>
                <a:gd name="f122" fmla="*/ 42 1 f84"/>
                <a:gd name="f123" fmla="*/ 7 1 f85"/>
                <a:gd name="f124" fmla="*/ 27 1 f84"/>
                <a:gd name="f125" fmla="*/ 38 1 f85"/>
                <a:gd name="f126" fmla="*/ 22 1 f84"/>
                <a:gd name="f127" fmla="*/ 43 1 f85"/>
                <a:gd name="f128" fmla="*/ 4 1 f84"/>
                <a:gd name="f129" fmla="*/ 45 1 f85"/>
                <a:gd name="f130" fmla="*/ 0 1 f84"/>
                <a:gd name="f131" fmla="*/ 54 1 f85"/>
                <a:gd name="f132" fmla="*/ 16 1 f84"/>
                <a:gd name="f133" fmla="*/ 70 1 f85"/>
                <a:gd name="f134" fmla="*/ 15 1 f84"/>
                <a:gd name="f135" fmla="*/ 107 1 f85"/>
                <a:gd name="f136" fmla="*/ 31 1 f84"/>
                <a:gd name="f137" fmla="*/ 132 1 f85"/>
                <a:gd name="f138" fmla="*/ 40 1 f84"/>
                <a:gd name="f139" fmla="*/ 152 1 f85"/>
                <a:gd name="f140" fmla="*/ 49 1 f84"/>
                <a:gd name="f141" fmla="*/ 179 1 f85"/>
                <a:gd name="f142" fmla="*/ 51 1 f84"/>
                <a:gd name="f143" fmla="*/ 199 1 f85"/>
                <a:gd name="f144" fmla="*/ 44 1 f84"/>
                <a:gd name="f145" fmla="*/ 211 1 f85"/>
                <a:gd name="f146" fmla="*/ 224 1 f85"/>
                <a:gd name="f147" fmla="*/ 29 1 f84"/>
                <a:gd name="f148" fmla="*/ 228 1 f85"/>
                <a:gd name="f149" fmla="*/ 234 1 f85"/>
                <a:gd name="f150" fmla="*/ 55 1 f84"/>
                <a:gd name="f151" fmla="*/ 251 1 f85"/>
                <a:gd name="f152" fmla="*/ 253 1 f85"/>
                <a:gd name="f153" fmla="*/ 82 1 f84"/>
                <a:gd name="f154" fmla="*/ 246 1 f85"/>
                <a:gd name="f155" fmla="*/ 111 1 f84"/>
                <a:gd name="f156" fmla="*/ 268 1 f85"/>
                <a:gd name="f157" fmla="*/ 121 1 f84"/>
                <a:gd name="f158" fmla="*/ 260 1 f85"/>
                <a:gd name="f159" fmla="*/ 143 1 f84"/>
                <a:gd name="f160" fmla="*/ 259 1 f85"/>
                <a:gd name="f161" fmla="*/ 152 1 f84"/>
                <a:gd name="f162" fmla="*/ 159 1 f84"/>
                <a:gd name="f163" fmla="*/ 235 1 f85"/>
                <a:gd name="f164" fmla="*/ 166 1 f84"/>
                <a:gd name="f165" fmla="*/ 219 1 f85"/>
                <a:gd name="f166" fmla="*/ f6 1 f84"/>
                <a:gd name="f167" fmla="*/ f7 1 f85"/>
                <a:gd name="f168" fmla="+- f86 0 f1"/>
                <a:gd name="f169" fmla="*/ f130 f79 1"/>
                <a:gd name="f170" fmla="*/ f166 f79 1"/>
                <a:gd name="f171" fmla="*/ f167 f80 1"/>
                <a:gd name="f172" fmla="*/ f119 f80 1"/>
                <a:gd name="f173" fmla="*/ f87 f79 1"/>
                <a:gd name="f174" fmla="*/ f88 f80 1"/>
                <a:gd name="f175" fmla="*/ f89 f79 1"/>
                <a:gd name="f176" fmla="*/ f90 f80 1"/>
                <a:gd name="f177" fmla="*/ f91 f79 1"/>
                <a:gd name="f178" fmla="*/ f92 f80 1"/>
                <a:gd name="f179" fmla="*/ f93 f79 1"/>
                <a:gd name="f180" fmla="*/ f94 f80 1"/>
                <a:gd name="f181" fmla="*/ f95 f79 1"/>
                <a:gd name="f182" fmla="*/ f96 f80 1"/>
                <a:gd name="f183" fmla="*/ f97 f79 1"/>
                <a:gd name="f184" fmla="*/ f98 f80 1"/>
                <a:gd name="f185" fmla="*/ f99 f80 1"/>
                <a:gd name="f186" fmla="*/ f100 f79 1"/>
                <a:gd name="f187" fmla="*/ f101 f80 1"/>
                <a:gd name="f188" fmla="*/ f102 f79 1"/>
                <a:gd name="f189" fmla="*/ f103 f80 1"/>
                <a:gd name="f190" fmla="*/ f104 f79 1"/>
                <a:gd name="f191" fmla="*/ f105 f80 1"/>
                <a:gd name="f192" fmla="*/ f106 f79 1"/>
                <a:gd name="f193" fmla="*/ f107 f80 1"/>
                <a:gd name="f194" fmla="*/ f108 f80 1"/>
                <a:gd name="f195" fmla="*/ f109 f79 1"/>
                <a:gd name="f196" fmla="*/ f110 f80 1"/>
                <a:gd name="f197" fmla="*/ f111 f79 1"/>
                <a:gd name="f198" fmla="*/ f112 f79 1"/>
                <a:gd name="f199" fmla="*/ f113 f80 1"/>
                <a:gd name="f200" fmla="*/ f114 f79 1"/>
                <a:gd name="f201" fmla="*/ f115 f80 1"/>
                <a:gd name="f202" fmla="*/ f116 f79 1"/>
                <a:gd name="f203" fmla="*/ f117 f80 1"/>
                <a:gd name="f204" fmla="*/ f118 f79 1"/>
                <a:gd name="f205" fmla="*/ f120 f79 1"/>
                <a:gd name="f206" fmla="*/ f121 f80 1"/>
                <a:gd name="f207" fmla="*/ f122 f79 1"/>
                <a:gd name="f208" fmla="*/ f123 f80 1"/>
                <a:gd name="f209" fmla="*/ f124 f79 1"/>
                <a:gd name="f210" fmla="*/ f125 f80 1"/>
                <a:gd name="f211" fmla="*/ f126 f79 1"/>
                <a:gd name="f212" fmla="*/ f127 f80 1"/>
                <a:gd name="f213" fmla="*/ f128 f79 1"/>
                <a:gd name="f214" fmla="*/ f129 f80 1"/>
                <a:gd name="f215" fmla="*/ f131 f80 1"/>
                <a:gd name="f216" fmla="*/ f132 f79 1"/>
                <a:gd name="f217" fmla="*/ f133 f80 1"/>
                <a:gd name="f218" fmla="*/ f134 f79 1"/>
                <a:gd name="f219" fmla="*/ f135 f80 1"/>
                <a:gd name="f220" fmla="*/ f136 f79 1"/>
                <a:gd name="f221" fmla="*/ f137 f80 1"/>
                <a:gd name="f222" fmla="*/ f138 f79 1"/>
                <a:gd name="f223" fmla="*/ f139 f80 1"/>
                <a:gd name="f224" fmla="*/ f140 f79 1"/>
                <a:gd name="f225" fmla="*/ f141 f80 1"/>
                <a:gd name="f226" fmla="*/ f142 f79 1"/>
                <a:gd name="f227" fmla="*/ f143 f80 1"/>
                <a:gd name="f228" fmla="*/ f144 f79 1"/>
                <a:gd name="f229" fmla="*/ f145 f80 1"/>
                <a:gd name="f230" fmla="*/ f146 f80 1"/>
                <a:gd name="f231" fmla="*/ f147 f79 1"/>
                <a:gd name="f232" fmla="*/ f148 f80 1"/>
                <a:gd name="f233" fmla="*/ f149 f80 1"/>
                <a:gd name="f234" fmla="*/ f150 f79 1"/>
                <a:gd name="f235" fmla="*/ f151 f80 1"/>
                <a:gd name="f236" fmla="*/ f152 f80 1"/>
                <a:gd name="f237" fmla="*/ f153 f79 1"/>
                <a:gd name="f238" fmla="*/ f154 f80 1"/>
                <a:gd name="f239" fmla="*/ f155 f79 1"/>
                <a:gd name="f240" fmla="*/ f156 f80 1"/>
                <a:gd name="f241" fmla="*/ f157 f79 1"/>
                <a:gd name="f242" fmla="*/ f158 f80 1"/>
                <a:gd name="f243" fmla="*/ f159 f79 1"/>
                <a:gd name="f244" fmla="*/ f160 f80 1"/>
                <a:gd name="f245" fmla="*/ f161 f79 1"/>
                <a:gd name="f246" fmla="*/ f162 f79 1"/>
                <a:gd name="f247" fmla="*/ f163 f80 1"/>
                <a:gd name="f248" fmla="*/ f164 f79 1"/>
                <a:gd name="f249" fmla="*/ f165 f8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68">
                  <a:pos x="f173" y="f174"/>
                </a:cxn>
                <a:cxn ang="f168">
                  <a:pos x="f175" y="f176"/>
                </a:cxn>
                <a:cxn ang="f168">
                  <a:pos x="f177" y="f178"/>
                </a:cxn>
                <a:cxn ang="f168">
                  <a:pos x="f179" y="f180"/>
                </a:cxn>
                <a:cxn ang="f168">
                  <a:pos x="f181" y="f182"/>
                </a:cxn>
                <a:cxn ang="f168">
                  <a:pos x="f183" y="f184"/>
                </a:cxn>
                <a:cxn ang="f168">
                  <a:pos x="f175" y="f185"/>
                </a:cxn>
                <a:cxn ang="f168">
                  <a:pos x="f186" y="f187"/>
                </a:cxn>
                <a:cxn ang="f168">
                  <a:pos x="f188" y="f189"/>
                </a:cxn>
                <a:cxn ang="f168">
                  <a:pos x="f190" y="f191"/>
                </a:cxn>
                <a:cxn ang="f168">
                  <a:pos x="f192" y="f189"/>
                </a:cxn>
                <a:cxn ang="f168">
                  <a:pos x="f192" y="f193"/>
                </a:cxn>
                <a:cxn ang="f168">
                  <a:pos x="f192" y="f194"/>
                </a:cxn>
                <a:cxn ang="f168">
                  <a:pos x="f195" y="f196"/>
                </a:cxn>
                <a:cxn ang="f168">
                  <a:pos x="f197" y="f196"/>
                </a:cxn>
                <a:cxn ang="f168">
                  <a:pos x="f198" y="f199"/>
                </a:cxn>
                <a:cxn ang="f168">
                  <a:pos x="f200" y="f201"/>
                </a:cxn>
                <a:cxn ang="f168">
                  <a:pos x="f202" y="f203"/>
                </a:cxn>
                <a:cxn ang="f168">
                  <a:pos x="f204" y="f172"/>
                </a:cxn>
                <a:cxn ang="f168">
                  <a:pos x="f205" y="f206"/>
                </a:cxn>
                <a:cxn ang="f168">
                  <a:pos x="f207" y="f208"/>
                </a:cxn>
                <a:cxn ang="f168">
                  <a:pos x="f209" y="f210"/>
                </a:cxn>
                <a:cxn ang="f168">
                  <a:pos x="f211" y="f212"/>
                </a:cxn>
                <a:cxn ang="f168">
                  <a:pos x="f213" y="f214"/>
                </a:cxn>
                <a:cxn ang="f168">
                  <a:pos x="f169" y="f215"/>
                </a:cxn>
                <a:cxn ang="f168">
                  <a:pos x="f216" y="f217"/>
                </a:cxn>
                <a:cxn ang="f168">
                  <a:pos x="f218" y="f189"/>
                </a:cxn>
                <a:cxn ang="f168">
                  <a:pos x="f213" y="f219"/>
                </a:cxn>
                <a:cxn ang="f168">
                  <a:pos x="f220" y="f221"/>
                </a:cxn>
                <a:cxn ang="f168">
                  <a:pos x="f222" y="f223"/>
                </a:cxn>
                <a:cxn ang="f168">
                  <a:pos x="f224" y="f225"/>
                </a:cxn>
                <a:cxn ang="f168">
                  <a:pos x="f226" y="f227"/>
                </a:cxn>
                <a:cxn ang="f168">
                  <a:pos x="f228" y="f229"/>
                </a:cxn>
                <a:cxn ang="f168">
                  <a:pos x="f222" y="f230"/>
                </a:cxn>
                <a:cxn ang="f168">
                  <a:pos x="f231" y="f232"/>
                </a:cxn>
                <a:cxn ang="f168">
                  <a:pos x="f222" y="f233"/>
                </a:cxn>
                <a:cxn ang="f168">
                  <a:pos x="f234" y="f235"/>
                </a:cxn>
                <a:cxn ang="f168">
                  <a:pos x="f205" y="f236"/>
                </a:cxn>
                <a:cxn ang="f168">
                  <a:pos x="f237" y="f238"/>
                </a:cxn>
                <a:cxn ang="f168">
                  <a:pos x="f239" y="f240"/>
                </a:cxn>
                <a:cxn ang="f168">
                  <a:pos x="f241" y="f242"/>
                </a:cxn>
                <a:cxn ang="f168">
                  <a:pos x="f243" y="f244"/>
                </a:cxn>
                <a:cxn ang="f168">
                  <a:pos x="f245" y="f236"/>
                </a:cxn>
                <a:cxn ang="f168">
                  <a:pos x="f246" y="f247"/>
                </a:cxn>
                <a:cxn ang="f168">
                  <a:pos x="f248" y="f249"/>
                </a:cxn>
                <a:cxn ang="f168">
                  <a:pos x="f173" y="f174"/>
                </a:cxn>
              </a:cxnLst>
              <a:rect l="f169" t="f172" r="f170" b="f171"/>
              <a:pathLst>
                <a:path w="243" h="268">
                  <a:moveTo>
                    <a:pt x="f8" y="f9"/>
                  </a:move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6" y="f16"/>
                  </a:lnTo>
                  <a:lnTo>
                    <a:pt x="f17" y="f18"/>
                  </a:lnTo>
                  <a:lnTo>
                    <a:pt x="f10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5"/>
                  </a:lnTo>
                  <a:lnTo>
                    <a:pt x="f26" y="f23"/>
                  </a:lnTo>
                  <a:lnTo>
                    <a:pt x="f26" y="f27"/>
                  </a:lnTo>
                  <a:lnTo>
                    <a:pt x="f26" y="f28"/>
                  </a:lnTo>
                  <a:lnTo>
                    <a:pt x="f29" y="f30"/>
                  </a:lnTo>
                  <a:lnTo>
                    <a:pt x="f31" y="f30"/>
                  </a:lnTo>
                  <a:lnTo>
                    <a:pt x="f32" y="f33"/>
                  </a:lnTo>
                  <a:lnTo>
                    <a:pt x="f34" y="f35"/>
                  </a:lnTo>
                  <a:lnTo>
                    <a:pt x="f36" y="f37"/>
                  </a:lnTo>
                  <a:lnTo>
                    <a:pt x="f21" y="f5"/>
                  </a:lnTo>
                  <a:lnTo>
                    <a:pt x="f38" y="f39"/>
                  </a:lnTo>
                  <a:lnTo>
                    <a:pt x="f40" y="f41"/>
                  </a:lnTo>
                  <a:lnTo>
                    <a:pt x="f42" y="f43"/>
                  </a:lnTo>
                  <a:lnTo>
                    <a:pt x="f44" y="f45"/>
                  </a:lnTo>
                  <a:lnTo>
                    <a:pt x="f46" y="f47"/>
                  </a:lnTo>
                  <a:lnTo>
                    <a:pt x="f5" y="f48"/>
                  </a:lnTo>
                  <a:lnTo>
                    <a:pt x="f49" y="f50"/>
                  </a:lnTo>
                  <a:lnTo>
                    <a:pt x="f51" y="f23"/>
                  </a:lnTo>
                  <a:lnTo>
                    <a:pt x="f46" y="f52"/>
                  </a:lnTo>
                  <a:lnTo>
                    <a:pt x="f53" y="f54"/>
                  </a:lnTo>
                  <a:lnTo>
                    <a:pt x="f55" y="f56"/>
                  </a:lnTo>
                  <a:lnTo>
                    <a:pt x="f57" y="f58"/>
                  </a:lnTo>
                  <a:lnTo>
                    <a:pt x="f59" y="f22"/>
                  </a:lnTo>
                  <a:lnTo>
                    <a:pt x="f60" y="f61"/>
                  </a:lnTo>
                  <a:lnTo>
                    <a:pt x="f55" y="f62"/>
                  </a:lnTo>
                  <a:lnTo>
                    <a:pt x="f63" y="f17"/>
                  </a:lnTo>
                  <a:lnTo>
                    <a:pt x="f55" y="f64"/>
                  </a:lnTo>
                  <a:lnTo>
                    <a:pt x="f65" y="f66"/>
                  </a:lnTo>
                  <a:lnTo>
                    <a:pt x="f38" y="f67"/>
                  </a:lnTo>
                  <a:lnTo>
                    <a:pt x="f68" y="f69"/>
                  </a:lnTo>
                  <a:lnTo>
                    <a:pt x="f70" y="f7"/>
                  </a:lnTo>
                  <a:lnTo>
                    <a:pt x="f71" y="f72"/>
                  </a:lnTo>
                  <a:lnTo>
                    <a:pt x="f73" y="f74"/>
                  </a:lnTo>
                  <a:lnTo>
                    <a:pt x="f56" y="f67"/>
                  </a:lnTo>
                  <a:lnTo>
                    <a:pt x="f16" y="f75"/>
                  </a:lnTo>
                  <a:lnTo>
                    <a:pt x="f76" y="f77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D9D9D9"/>
            </a:solidFill>
            <a:ln w="6345" cap="flat">
              <a:solidFill>
                <a:srgbClr val="A6A6A6"/>
              </a:solidFill>
              <a:prstDash val="solid"/>
              <a:round/>
            </a:ln>
          </p:spPr>
          <p:txBody>
            <a:bodyPr vert="horz" wrap="square" lIns="68580" tIns="34290" rIns="68580" bIns="3429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290" rtl="0" fontAlgn="auto" hangingPunct="1">
                <a:lnSpc>
                  <a:spcPct val="100000"/>
                </a:lnSpc>
                <a:spcBef>
                  <a:spcPts val="50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000" b="0" i="0" u="none" strike="noStrike" kern="0" cap="none" spc="0" baseline="0">
                <a:solidFill>
                  <a:srgbClr val="133B9C"/>
                </a:solidFill>
                <a:highlight>
                  <a:srgbClr val="008556"/>
                </a:highlight>
                <a:uFillTx/>
                <a:latin typeface="Arial"/>
              </a:endParaRPr>
            </a:p>
          </p:txBody>
        </p:sp>
        <p:sp>
          <p:nvSpPr>
            <p:cNvPr id="14" name="Freeform 155">
              <a:extLst>
                <a:ext uri="{FF2B5EF4-FFF2-40B4-BE49-F238E27FC236}">
                  <a16:creationId xmlns:a16="http://schemas.microsoft.com/office/drawing/2014/main" id="{D716C690-B429-75EB-0C17-AB634E05681D}"/>
                </a:ext>
              </a:extLst>
            </p:cNvPr>
            <p:cNvSpPr/>
            <p:nvPr/>
          </p:nvSpPr>
          <p:spPr>
            <a:xfrm>
              <a:off x="5136029" y="2665905"/>
              <a:ext cx="288100" cy="274777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08"/>
                <a:gd name="f7" fmla="val 328"/>
                <a:gd name="f8" fmla="val 181"/>
                <a:gd name="f9" fmla="val 166"/>
                <a:gd name="f10" fmla="val 156"/>
                <a:gd name="f11" fmla="val 14"/>
                <a:gd name="f12" fmla="val 141"/>
                <a:gd name="f13" fmla="val 20"/>
                <a:gd name="f14" fmla="val 123"/>
                <a:gd name="f15" fmla="val 16"/>
                <a:gd name="f16" fmla="val 111"/>
                <a:gd name="f17" fmla="val 5"/>
                <a:gd name="f18" fmla="val 96"/>
                <a:gd name="f19" fmla="val 2"/>
                <a:gd name="f20" fmla="val 78"/>
                <a:gd name="f21" fmla="val 7"/>
                <a:gd name="f22" fmla="val 63"/>
                <a:gd name="f23" fmla="val 12"/>
                <a:gd name="f24" fmla="val 54"/>
                <a:gd name="f25" fmla="val 47"/>
                <a:gd name="f26" fmla="val 37"/>
                <a:gd name="f27" fmla="val 29"/>
                <a:gd name="f28" fmla="val 18"/>
                <a:gd name="f29" fmla="val 25"/>
                <a:gd name="f30" fmla="val 40"/>
                <a:gd name="f31" fmla="val 9"/>
                <a:gd name="f32" fmla="val 52"/>
                <a:gd name="f33" fmla="val 66"/>
                <a:gd name="f34" fmla="val 89"/>
                <a:gd name="f35" fmla="val 10"/>
                <a:gd name="f36" fmla="val 112"/>
                <a:gd name="f37" fmla="val 24"/>
                <a:gd name="f38" fmla="val 127"/>
                <a:gd name="f39" fmla="val 136"/>
                <a:gd name="f40" fmla="val 13"/>
                <a:gd name="f41" fmla="val 143"/>
                <a:gd name="f42" fmla="val 4"/>
                <a:gd name="f43" fmla="val 152"/>
                <a:gd name="f44" fmla="val 163"/>
                <a:gd name="f45" fmla="val 173"/>
                <a:gd name="f46" fmla="val 27"/>
                <a:gd name="f47" fmla="val 159"/>
                <a:gd name="f48" fmla="val 62"/>
                <a:gd name="f49" fmla="val 161"/>
                <a:gd name="f50" fmla="val 83"/>
                <a:gd name="f51" fmla="val 74"/>
                <a:gd name="f52" fmla="val 192"/>
                <a:gd name="f53" fmla="val 201"/>
                <a:gd name="f54" fmla="val 88"/>
                <a:gd name="f55" fmla="val 210"/>
                <a:gd name="f56" fmla="val 99"/>
                <a:gd name="f57" fmla="val 196"/>
                <a:gd name="f58" fmla="val 102"/>
                <a:gd name="f59" fmla="val 193"/>
                <a:gd name="f60" fmla="val 119"/>
                <a:gd name="f61" fmla="val 206"/>
                <a:gd name="f62" fmla="val 199"/>
                <a:gd name="f63" fmla="val 226"/>
                <a:gd name="f64" fmla="val 176"/>
                <a:gd name="f65" fmla="val 241"/>
                <a:gd name="f66" fmla="val 186"/>
                <a:gd name="f67" fmla="val 255"/>
                <a:gd name="f68" fmla="val 183"/>
                <a:gd name="f69" fmla="val 263"/>
                <a:gd name="f70" fmla="val 275"/>
                <a:gd name="f71" fmla="val 288"/>
                <a:gd name="f72" fmla="val 293"/>
                <a:gd name="f73" fmla="val 300"/>
                <a:gd name="f74" fmla="val 208"/>
                <a:gd name="f75" fmla="val 315"/>
                <a:gd name="f76" fmla="val 219"/>
                <a:gd name="f77" fmla="val 324"/>
                <a:gd name="f78" fmla="val 230"/>
                <a:gd name="f79" fmla="val 238"/>
                <a:gd name="f80" fmla="val 320"/>
                <a:gd name="f81" fmla="val 250"/>
                <a:gd name="f82" fmla="val 273"/>
                <a:gd name="f83" fmla="val 291"/>
                <a:gd name="f84" fmla="val 323"/>
                <a:gd name="f85" fmla="val 298"/>
                <a:gd name="f86" fmla="val 302"/>
                <a:gd name="f87" fmla="val 270"/>
                <a:gd name="f88" fmla="val 253"/>
                <a:gd name="f89" fmla="val 223"/>
                <a:gd name="f90" fmla="val 260"/>
                <a:gd name="f91" fmla="val 266"/>
                <a:gd name="f92" fmla="val 132"/>
                <a:gd name="f93" fmla="val 278"/>
                <a:gd name="f94" fmla="val 295"/>
                <a:gd name="f95" fmla="val 105"/>
                <a:gd name="f96" fmla="val 305"/>
                <a:gd name="f97" fmla="val 94"/>
                <a:gd name="f98" fmla="val 86"/>
                <a:gd name="f99" fmla="val 280"/>
                <a:gd name="f100" fmla="val 92"/>
                <a:gd name="f101" fmla="val 81"/>
                <a:gd name="f102" fmla="val 76"/>
                <a:gd name="f103" fmla="val 258"/>
                <a:gd name="f104" fmla="val 69"/>
                <a:gd name="f105" fmla="val 65"/>
                <a:gd name="f106" fmla="val 56"/>
                <a:gd name="f107" fmla="val 248"/>
                <a:gd name="f108" fmla="val 49"/>
                <a:gd name="f109" fmla="val 203"/>
                <a:gd name="f110" fmla="+- 0 0 -90"/>
                <a:gd name="f111" fmla="*/ f3 1 308"/>
                <a:gd name="f112" fmla="*/ f4 1 328"/>
                <a:gd name="f113" fmla="+- f7 0 f5"/>
                <a:gd name="f114" fmla="+- f6 0 f5"/>
                <a:gd name="f115" fmla="*/ f110 f0 1"/>
                <a:gd name="f116" fmla="*/ f114 1 308"/>
                <a:gd name="f117" fmla="*/ f113 1 328"/>
                <a:gd name="f118" fmla="*/ f115 1 f2"/>
                <a:gd name="f119" fmla="*/ 166 1 f116"/>
                <a:gd name="f120" fmla="*/ 0 1 f117"/>
                <a:gd name="f121" fmla="*/ 141 1 f116"/>
                <a:gd name="f122" fmla="*/ 20 1 f117"/>
                <a:gd name="f123" fmla="*/ 111 1 f116"/>
                <a:gd name="f124" fmla="*/ 5 1 f117"/>
                <a:gd name="f125" fmla="*/ 78 1 f116"/>
                <a:gd name="f126" fmla="*/ 7 1 f117"/>
                <a:gd name="f127" fmla="*/ 54 1 f116"/>
                <a:gd name="f128" fmla="*/ 16 1 f117"/>
                <a:gd name="f129" fmla="*/ 37 1 f116"/>
                <a:gd name="f130" fmla="*/ 18 1 f116"/>
                <a:gd name="f131" fmla="*/ 14 1 f117"/>
                <a:gd name="f132" fmla="*/ 40 1 f117"/>
                <a:gd name="f133" fmla="*/ 0 1 f116"/>
                <a:gd name="f134" fmla="*/ 66 1 f117"/>
                <a:gd name="f135" fmla="*/ 10 1 f116"/>
                <a:gd name="f136" fmla="*/ 112 1 f117"/>
                <a:gd name="f137" fmla="*/ 24 1 f116"/>
                <a:gd name="f138" fmla="*/ 136 1 f117"/>
                <a:gd name="f139" fmla="*/ 4 1 f116"/>
                <a:gd name="f140" fmla="*/ 152 1 f117"/>
                <a:gd name="f141" fmla="*/ 173 1 f117"/>
                <a:gd name="f142" fmla="*/ 47 1 f116"/>
                <a:gd name="f143" fmla="*/ 159 1 f117"/>
                <a:gd name="f144" fmla="*/ 83 1 f116"/>
                <a:gd name="f145" fmla="*/ 166 1 f117"/>
                <a:gd name="f146" fmla="*/ 74 1 f116"/>
                <a:gd name="f147" fmla="*/ 192 1 f117"/>
                <a:gd name="f148" fmla="*/ 88 1 f116"/>
                <a:gd name="f149" fmla="*/ 210 1 f117"/>
                <a:gd name="f150" fmla="*/ 102 1 f116"/>
                <a:gd name="f151" fmla="*/ 193 1 f117"/>
                <a:gd name="f152" fmla="*/ 136 1 f116"/>
                <a:gd name="f153" fmla="*/ 199 1 f117"/>
                <a:gd name="f154" fmla="*/ 163 1 f116"/>
                <a:gd name="f155" fmla="*/ 226 1 f117"/>
                <a:gd name="f156" fmla="*/ 186 1 f116"/>
                <a:gd name="f157" fmla="*/ 255 1 f117"/>
                <a:gd name="f158" fmla="*/ 173 1 f116"/>
                <a:gd name="f159" fmla="*/ 275 1 f117"/>
                <a:gd name="f160" fmla="*/ 183 1 f116"/>
                <a:gd name="f161" fmla="*/ 293 1 f117"/>
                <a:gd name="f162" fmla="*/ 208 1 f116"/>
                <a:gd name="f163" fmla="*/ 315 1 f117"/>
                <a:gd name="f164" fmla="*/ 230 1 f116"/>
                <a:gd name="f165" fmla="*/ 328 1 f117"/>
                <a:gd name="f166" fmla="*/ 250 1 f116"/>
                <a:gd name="f167" fmla="*/ 291 1 f116"/>
                <a:gd name="f168" fmla="*/ 320 1 f117"/>
                <a:gd name="f169" fmla="*/ 298 1 f116"/>
                <a:gd name="f170" fmla="*/ 308 1 f117"/>
                <a:gd name="f171" fmla="*/ 308 1 f116"/>
                <a:gd name="f172" fmla="*/ 288 1 f117"/>
                <a:gd name="f173" fmla="*/ 302 1 f116"/>
                <a:gd name="f174" fmla="*/ 253 1 f117"/>
                <a:gd name="f175" fmla="*/ 260 1 f116"/>
                <a:gd name="f176" fmla="*/ 275 1 f116"/>
                <a:gd name="f177" fmla="*/ 161 1 f117"/>
                <a:gd name="f178" fmla="*/ 132 1 f117"/>
                <a:gd name="f179" fmla="*/ 305 1 f116"/>
                <a:gd name="f180" fmla="*/ 94 1 f117"/>
                <a:gd name="f181" fmla="*/ 280 1 f116"/>
                <a:gd name="f182" fmla="*/ 92 1 f117"/>
                <a:gd name="f183" fmla="*/ 255 1 f116"/>
                <a:gd name="f184" fmla="*/ 76 1 f117"/>
                <a:gd name="f185" fmla="*/ 258 1 f116"/>
                <a:gd name="f186" fmla="*/ 65 1 f117"/>
                <a:gd name="f187" fmla="*/ 248 1 f116"/>
                <a:gd name="f188" fmla="*/ 49 1 f117"/>
                <a:gd name="f189" fmla="*/ 56 1 f117"/>
                <a:gd name="f190" fmla="*/ 203 1 f116"/>
                <a:gd name="f191" fmla="*/ 9 1 f117"/>
                <a:gd name="f192" fmla="*/ 181 1 f116"/>
                <a:gd name="f193" fmla="*/ f6 1 f116"/>
                <a:gd name="f194" fmla="*/ f7 1 f117"/>
                <a:gd name="f195" fmla="+- f118 0 f1"/>
                <a:gd name="f196" fmla="*/ f133 f111 1"/>
                <a:gd name="f197" fmla="*/ f193 f111 1"/>
                <a:gd name="f198" fmla="*/ f194 f112 1"/>
                <a:gd name="f199" fmla="*/ f120 f112 1"/>
                <a:gd name="f200" fmla="*/ f119 f111 1"/>
                <a:gd name="f201" fmla="*/ f121 f111 1"/>
                <a:gd name="f202" fmla="*/ f122 f112 1"/>
                <a:gd name="f203" fmla="*/ f123 f111 1"/>
                <a:gd name="f204" fmla="*/ f124 f112 1"/>
                <a:gd name="f205" fmla="*/ f125 f111 1"/>
                <a:gd name="f206" fmla="*/ f126 f112 1"/>
                <a:gd name="f207" fmla="*/ f127 f111 1"/>
                <a:gd name="f208" fmla="*/ f128 f112 1"/>
                <a:gd name="f209" fmla="*/ f129 f111 1"/>
                <a:gd name="f210" fmla="*/ f130 f111 1"/>
                <a:gd name="f211" fmla="*/ f131 f112 1"/>
                <a:gd name="f212" fmla="*/ f132 f112 1"/>
                <a:gd name="f213" fmla="*/ f134 f112 1"/>
                <a:gd name="f214" fmla="*/ f135 f111 1"/>
                <a:gd name="f215" fmla="*/ f136 f112 1"/>
                <a:gd name="f216" fmla="*/ f137 f111 1"/>
                <a:gd name="f217" fmla="*/ f138 f112 1"/>
                <a:gd name="f218" fmla="*/ f139 f111 1"/>
                <a:gd name="f219" fmla="*/ f140 f112 1"/>
                <a:gd name="f220" fmla="*/ f141 f112 1"/>
                <a:gd name="f221" fmla="*/ f142 f111 1"/>
                <a:gd name="f222" fmla="*/ f143 f112 1"/>
                <a:gd name="f223" fmla="*/ f144 f111 1"/>
                <a:gd name="f224" fmla="*/ f145 f112 1"/>
                <a:gd name="f225" fmla="*/ f146 f111 1"/>
                <a:gd name="f226" fmla="*/ f147 f112 1"/>
                <a:gd name="f227" fmla="*/ f148 f111 1"/>
                <a:gd name="f228" fmla="*/ f149 f112 1"/>
                <a:gd name="f229" fmla="*/ f150 f111 1"/>
                <a:gd name="f230" fmla="*/ f151 f112 1"/>
                <a:gd name="f231" fmla="*/ f152 f111 1"/>
                <a:gd name="f232" fmla="*/ f153 f112 1"/>
                <a:gd name="f233" fmla="*/ f154 f111 1"/>
                <a:gd name="f234" fmla="*/ f155 f112 1"/>
                <a:gd name="f235" fmla="*/ f156 f111 1"/>
                <a:gd name="f236" fmla="*/ f157 f112 1"/>
                <a:gd name="f237" fmla="*/ f158 f111 1"/>
                <a:gd name="f238" fmla="*/ f159 f112 1"/>
                <a:gd name="f239" fmla="*/ f160 f111 1"/>
                <a:gd name="f240" fmla="*/ f161 f112 1"/>
                <a:gd name="f241" fmla="*/ f162 f111 1"/>
                <a:gd name="f242" fmla="*/ f163 f112 1"/>
                <a:gd name="f243" fmla="*/ f164 f111 1"/>
                <a:gd name="f244" fmla="*/ f165 f112 1"/>
                <a:gd name="f245" fmla="*/ f166 f111 1"/>
                <a:gd name="f246" fmla="*/ f167 f111 1"/>
                <a:gd name="f247" fmla="*/ f168 f112 1"/>
                <a:gd name="f248" fmla="*/ f169 f111 1"/>
                <a:gd name="f249" fmla="*/ f170 f112 1"/>
                <a:gd name="f250" fmla="*/ f171 f111 1"/>
                <a:gd name="f251" fmla="*/ f172 f112 1"/>
                <a:gd name="f252" fmla="*/ f173 f111 1"/>
                <a:gd name="f253" fmla="*/ f174 f112 1"/>
                <a:gd name="f254" fmla="*/ f175 f111 1"/>
                <a:gd name="f255" fmla="*/ f176 f111 1"/>
                <a:gd name="f256" fmla="*/ f177 f112 1"/>
                <a:gd name="f257" fmla="*/ f178 f112 1"/>
                <a:gd name="f258" fmla="*/ f179 f111 1"/>
                <a:gd name="f259" fmla="*/ f180 f112 1"/>
                <a:gd name="f260" fmla="*/ f181 f111 1"/>
                <a:gd name="f261" fmla="*/ f182 f112 1"/>
                <a:gd name="f262" fmla="*/ f183 f111 1"/>
                <a:gd name="f263" fmla="*/ f184 f112 1"/>
                <a:gd name="f264" fmla="*/ f185 f111 1"/>
                <a:gd name="f265" fmla="*/ f186 f112 1"/>
                <a:gd name="f266" fmla="*/ f187 f111 1"/>
                <a:gd name="f267" fmla="*/ f188 f112 1"/>
                <a:gd name="f268" fmla="*/ f189 f112 1"/>
                <a:gd name="f269" fmla="*/ f190 f111 1"/>
                <a:gd name="f270" fmla="*/ f191 f112 1"/>
                <a:gd name="f271" fmla="*/ f192 f11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95">
                  <a:pos x="f200" y="f199"/>
                </a:cxn>
                <a:cxn ang="f195">
                  <a:pos x="f201" y="f202"/>
                </a:cxn>
                <a:cxn ang="f195">
                  <a:pos x="f203" y="f204"/>
                </a:cxn>
                <a:cxn ang="f195">
                  <a:pos x="f205" y="f206"/>
                </a:cxn>
                <a:cxn ang="f195">
                  <a:pos x="f207" y="f208"/>
                </a:cxn>
                <a:cxn ang="f195">
                  <a:pos x="f209" y="f206"/>
                </a:cxn>
                <a:cxn ang="f195">
                  <a:pos x="f210" y="f211"/>
                </a:cxn>
                <a:cxn ang="f195">
                  <a:pos x="f210" y="f212"/>
                </a:cxn>
                <a:cxn ang="f195">
                  <a:pos x="f196" y="f213"/>
                </a:cxn>
                <a:cxn ang="f195">
                  <a:pos x="f214" y="f215"/>
                </a:cxn>
                <a:cxn ang="f195">
                  <a:pos x="f216" y="f217"/>
                </a:cxn>
                <a:cxn ang="f195">
                  <a:pos x="f218" y="f219"/>
                </a:cxn>
                <a:cxn ang="f195">
                  <a:pos x="f210" y="f220"/>
                </a:cxn>
                <a:cxn ang="f195">
                  <a:pos x="f221" y="f222"/>
                </a:cxn>
                <a:cxn ang="f195">
                  <a:pos x="f223" y="f224"/>
                </a:cxn>
                <a:cxn ang="f195">
                  <a:pos x="f225" y="f226"/>
                </a:cxn>
                <a:cxn ang="f195">
                  <a:pos x="f227" y="f228"/>
                </a:cxn>
                <a:cxn ang="f195">
                  <a:pos x="f229" y="f230"/>
                </a:cxn>
                <a:cxn ang="f195">
                  <a:pos x="f231" y="f232"/>
                </a:cxn>
                <a:cxn ang="f195">
                  <a:pos x="f233" y="f234"/>
                </a:cxn>
                <a:cxn ang="f195">
                  <a:pos x="f235" y="f236"/>
                </a:cxn>
                <a:cxn ang="f195">
                  <a:pos x="f237" y="f238"/>
                </a:cxn>
                <a:cxn ang="f195">
                  <a:pos x="f239" y="f240"/>
                </a:cxn>
                <a:cxn ang="f195">
                  <a:pos x="f241" y="f242"/>
                </a:cxn>
                <a:cxn ang="f195">
                  <a:pos x="f243" y="f244"/>
                </a:cxn>
                <a:cxn ang="f195">
                  <a:pos x="f245" y="f244"/>
                </a:cxn>
                <a:cxn ang="f195">
                  <a:pos x="f246" y="f247"/>
                </a:cxn>
                <a:cxn ang="f195">
                  <a:pos x="f248" y="f249"/>
                </a:cxn>
                <a:cxn ang="f195">
                  <a:pos x="f250" y="f251"/>
                </a:cxn>
                <a:cxn ang="f195">
                  <a:pos x="f252" y="f253"/>
                </a:cxn>
                <a:cxn ang="f195">
                  <a:pos x="f254" y="f230"/>
                </a:cxn>
                <a:cxn ang="f195">
                  <a:pos x="f255" y="f256"/>
                </a:cxn>
                <a:cxn ang="f195">
                  <a:pos x="f254" y="f257"/>
                </a:cxn>
                <a:cxn ang="f195">
                  <a:pos x="f246" y="f215"/>
                </a:cxn>
                <a:cxn ang="f195">
                  <a:pos x="f258" y="f259"/>
                </a:cxn>
                <a:cxn ang="f195">
                  <a:pos x="f260" y="f261"/>
                </a:cxn>
                <a:cxn ang="f195">
                  <a:pos x="f262" y="f263"/>
                </a:cxn>
                <a:cxn ang="f195">
                  <a:pos x="f264" y="f265"/>
                </a:cxn>
                <a:cxn ang="f195">
                  <a:pos x="f266" y="f267"/>
                </a:cxn>
                <a:cxn ang="f195">
                  <a:pos x="f243" y="f268"/>
                </a:cxn>
                <a:cxn ang="f195">
                  <a:pos x="f269" y="f270"/>
                </a:cxn>
                <a:cxn ang="f195">
                  <a:pos x="f271" y="f199"/>
                </a:cxn>
              </a:cxnLst>
              <a:rect l="f196" t="f199" r="f197" b="f198"/>
              <a:pathLst>
                <a:path w="308" h="328">
                  <a:moveTo>
                    <a:pt x="f8" y="f5"/>
                  </a:moveTo>
                  <a:lnTo>
                    <a:pt x="f9" y="f5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15"/>
                  </a:lnTo>
                  <a:lnTo>
                    <a:pt x="f25" y="f21"/>
                  </a:lnTo>
                  <a:lnTo>
                    <a:pt x="f26" y="f21"/>
                  </a:lnTo>
                  <a:lnTo>
                    <a:pt x="f27" y="f23"/>
                  </a:lnTo>
                  <a:lnTo>
                    <a:pt x="f28" y="f11"/>
                  </a:lnTo>
                  <a:lnTo>
                    <a:pt x="f11" y="f29"/>
                  </a:lnTo>
                  <a:lnTo>
                    <a:pt x="f28" y="f30"/>
                  </a:lnTo>
                  <a:lnTo>
                    <a:pt x="f31" y="f32"/>
                  </a:lnTo>
                  <a:lnTo>
                    <a:pt x="f5" y="f33"/>
                  </a:lnTo>
                  <a:lnTo>
                    <a:pt x="f19" y="f34"/>
                  </a:lnTo>
                  <a:lnTo>
                    <a:pt x="f35" y="f36"/>
                  </a:lnTo>
                  <a:lnTo>
                    <a:pt x="f37" y="f38"/>
                  </a:lnTo>
                  <a:lnTo>
                    <a:pt x="f37" y="f39"/>
                  </a:lnTo>
                  <a:lnTo>
                    <a:pt x="f40" y="f41"/>
                  </a:lnTo>
                  <a:lnTo>
                    <a:pt x="f42" y="f43"/>
                  </a:lnTo>
                  <a:lnTo>
                    <a:pt x="f42" y="f44"/>
                  </a:lnTo>
                  <a:lnTo>
                    <a:pt x="f28" y="f45"/>
                  </a:lnTo>
                  <a:lnTo>
                    <a:pt x="f46" y="f45"/>
                  </a:lnTo>
                  <a:lnTo>
                    <a:pt x="f25" y="f47"/>
                  </a:lnTo>
                  <a:lnTo>
                    <a:pt x="f48" y="f49"/>
                  </a:lnTo>
                  <a:lnTo>
                    <a:pt x="f50" y="f9"/>
                  </a:lnTo>
                  <a:lnTo>
                    <a:pt x="f50" y="f8"/>
                  </a:lnTo>
                  <a:lnTo>
                    <a:pt x="f51" y="f52"/>
                  </a:lnTo>
                  <a:lnTo>
                    <a:pt x="f20" y="f53"/>
                  </a:lnTo>
                  <a:lnTo>
                    <a:pt x="f54" y="f55"/>
                  </a:lnTo>
                  <a:lnTo>
                    <a:pt x="f56" y="f57"/>
                  </a:lnTo>
                  <a:lnTo>
                    <a:pt x="f58" y="f59"/>
                  </a:lnTo>
                  <a:lnTo>
                    <a:pt x="f60" y="f61"/>
                  </a:lnTo>
                  <a:lnTo>
                    <a:pt x="f39" y="f62"/>
                  </a:lnTo>
                  <a:lnTo>
                    <a:pt x="f43" y="f53"/>
                  </a:lnTo>
                  <a:lnTo>
                    <a:pt x="f44" y="f63"/>
                  </a:lnTo>
                  <a:lnTo>
                    <a:pt x="f64" y="f65"/>
                  </a:lnTo>
                  <a:lnTo>
                    <a:pt x="f66" y="f67"/>
                  </a:lnTo>
                  <a:lnTo>
                    <a:pt x="f68" y="f69"/>
                  </a:lnTo>
                  <a:lnTo>
                    <a:pt x="f45" y="f70"/>
                  </a:lnTo>
                  <a:lnTo>
                    <a:pt x="f64" y="f71"/>
                  </a:lnTo>
                  <a:lnTo>
                    <a:pt x="f68" y="f72"/>
                  </a:lnTo>
                  <a:lnTo>
                    <a:pt x="f57" y="f73"/>
                  </a:lnTo>
                  <a:lnTo>
                    <a:pt x="f74" y="f75"/>
                  </a:lnTo>
                  <a:lnTo>
                    <a:pt x="f76" y="f77"/>
                  </a:lnTo>
                  <a:lnTo>
                    <a:pt x="f78" y="f7"/>
                  </a:lnTo>
                  <a:lnTo>
                    <a:pt x="f79" y="f80"/>
                  </a:lnTo>
                  <a:lnTo>
                    <a:pt x="f81" y="f7"/>
                  </a:lnTo>
                  <a:lnTo>
                    <a:pt x="f82" y="f7"/>
                  </a:lnTo>
                  <a:lnTo>
                    <a:pt x="f83" y="f80"/>
                  </a:lnTo>
                  <a:lnTo>
                    <a:pt x="f71" y="f84"/>
                  </a:lnTo>
                  <a:lnTo>
                    <a:pt x="f85" y="f6"/>
                  </a:lnTo>
                  <a:lnTo>
                    <a:pt x="f86" y="f85"/>
                  </a:lnTo>
                  <a:lnTo>
                    <a:pt x="f6" y="f71"/>
                  </a:lnTo>
                  <a:lnTo>
                    <a:pt x="f6" y="f87"/>
                  </a:lnTo>
                  <a:lnTo>
                    <a:pt x="f86" y="f88"/>
                  </a:lnTo>
                  <a:lnTo>
                    <a:pt x="f83" y="f89"/>
                  </a:lnTo>
                  <a:lnTo>
                    <a:pt x="f90" y="f59"/>
                  </a:lnTo>
                  <a:lnTo>
                    <a:pt x="f91" y="f64"/>
                  </a:lnTo>
                  <a:lnTo>
                    <a:pt x="f70" y="f49"/>
                  </a:lnTo>
                  <a:lnTo>
                    <a:pt x="f67" y="f12"/>
                  </a:lnTo>
                  <a:lnTo>
                    <a:pt x="f90" y="f92"/>
                  </a:lnTo>
                  <a:lnTo>
                    <a:pt x="f93" y="f92"/>
                  </a:lnTo>
                  <a:lnTo>
                    <a:pt x="f83" y="f36"/>
                  </a:lnTo>
                  <a:lnTo>
                    <a:pt x="f94" y="f95"/>
                  </a:lnTo>
                  <a:lnTo>
                    <a:pt x="f96" y="f97"/>
                  </a:lnTo>
                  <a:lnTo>
                    <a:pt x="f83" y="f98"/>
                  </a:lnTo>
                  <a:lnTo>
                    <a:pt x="f99" y="f100"/>
                  </a:lnTo>
                  <a:lnTo>
                    <a:pt x="f90" y="f101"/>
                  </a:lnTo>
                  <a:lnTo>
                    <a:pt x="f67" y="f102"/>
                  </a:lnTo>
                  <a:lnTo>
                    <a:pt x="f103" y="f104"/>
                  </a:lnTo>
                  <a:lnTo>
                    <a:pt x="f103" y="f105"/>
                  </a:lnTo>
                  <a:lnTo>
                    <a:pt x="f90" y="f106"/>
                  </a:lnTo>
                  <a:lnTo>
                    <a:pt x="f107" y="f108"/>
                  </a:lnTo>
                  <a:lnTo>
                    <a:pt x="f79" y="f24"/>
                  </a:lnTo>
                  <a:lnTo>
                    <a:pt x="f78" y="f106"/>
                  </a:lnTo>
                  <a:lnTo>
                    <a:pt x="f53" y="f29"/>
                  </a:lnTo>
                  <a:lnTo>
                    <a:pt x="f109" y="f31"/>
                  </a:lnTo>
                  <a:lnTo>
                    <a:pt x="f57" y="f19"/>
                  </a:lnTo>
                  <a:lnTo>
                    <a:pt x="f8" y="f5"/>
                  </a:lnTo>
                  <a:close/>
                </a:path>
              </a:pathLst>
            </a:custGeom>
            <a:solidFill>
              <a:srgbClr val="D9D9D9"/>
            </a:solidFill>
            <a:ln w="6345" cap="flat">
              <a:solidFill>
                <a:srgbClr val="A6A6A6"/>
              </a:solidFill>
              <a:prstDash val="solid"/>
              <a:round/>
            </a:ln>
          </p:spPr>
          <p:txBody>
            <a:bodyPr vert="horz" wrap="square" lIns="68580" tIns="34290" rIns="68580" bIns="3429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290" rtl="0" fontAlgn="auto" hangingPunct="1">
                <a:lnSpc>
                  <a:spcPct val="100000"/>
                </a:lnSpc>
                <a:spcBef>
                  <a:spcPts val="50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000" b="0" i="0" u="none" strike="noStrike" kern="0" cap="none" spc="0" baseline="0">
                <a:solidFill>
                  <a:srgbClr val="133B9C"/>
                </a:solidFill>
                <a:highlight>
                  <a:srgbClr val="008556"/>
                </a:highlight>
                <a:uFillTx/>
                <a:latin typeface="Arial"/>
              </a:endParaRPr>
            </a:p>
          </p:txBody>
        </p:sp>
        <p:sp>
          <p:nvSpPr>
            <p:cNvPr id="15" name="Freeform 156">
              <a:extLst>
                <a:ext uri="{FF2B5EF4-FFF2-40B4-BE49-F238E27FC236}">
                  <a16:creationId xmlns:a16="http://schemas.microsoft.com/office/drawing/2014/main" id="{966093F6-04B1-4C72-D7CA-B8FEDC1DFB4D}"/>
                </a:ext>
              </a:extLst>
            </p:cNvPr>
            <p:cNvSpPr/>
            <p:nvPr/>
          </p:nvSpPr>
          <p:spPr>
            <a:xfrm>
              <a:off x="5140601" y="2569153"/>
              <a:ext cx="195498" cy="12314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09"/>
                <a:gd name="f7" fmla="val 147"/>
                <a:gd name="f8" fmla="val 201"/>
                <a:gd name="f9" fmla="val 52"/>
                <a:gd name="f10" fmla="val 179"/>
                <a:gd name="f11" fmla="val 28"/>
                <a:gd name="f12" fmla="val 165"/>
                <a:gd name="f13" fmla="val 20"/>
                <a:gd name="f14" fmla="val 139"/>
                <a:gd name="f15" fmla="val 13"/>
                <a:gd name="f16" fmla="val 134"/>
                <a:gd name="f17" fmla="val 125"/>
                <a:gd name="f18" fmla="val 22"/>
                <a:gd name="f19" fmla="val 120"/>
                <a:gd name="f20" fmla="val 25"/>
                <a:gd name="f21" fmla="val 109"/>
                <a:gd name="f22" fmla="val 97"/>
                <a:gd name="f23" fmla="val 33"/>
                <a:gd name="f24" fmla="val 89"/>
                <a:gd name="f25" fmla="val 40"/>
                <a:gd name="f26" fmla="val 80"/>
                <a:gd name="f27" fmla="val 47"/>
                <a:gd name="f28" fmla="val 74"/>
                <a:gd name="f29" fmla="val 35"/>
                <a:gd name="f30" fmla="val 64"/>
                <a:gd name="f31" fmla="val 57"/>
                <a:gd name="f32" fmla="val 48"/>
                <a:gd name="f33" fmla="val 44"/>
                <a:gd name="f34" fmla="val 54"/>
                <a:gd name="f35" fmla="val 49"/>
                <a:gd name="f36" fmla="val 55"/>
                <a:gd name="f37" fmla="val 58"/>
                <a:gd name="f38" fmla="val 67"/>
                <a:gd name="f39" fmla="val 72"/>
                <a:gd name="f40" fmla="val 15"/>
                <a:gd name="f41" fmla="val 76"/>
                <a:gd name="f42" fmla="val 75"/>
                <a:gd name="f43" fmla="val 105"/>
                <a:gd name="f44" fmla="val 24"/>
                <a:gd name="f45" fmla="val 116"/>
                <a:gd name="f46" fmla="val 129"/>
                <a:gd name="f47" fmla="val 136"/>
                <a:gd name="f48" fmla="val 29"/>
                <a:gd name="f49" fmla="val 132"/>
                <a:gd name="f50" fmla="val 42"/>
                <a:gd name="f51" fmla="val 143"/>
                <a:gd name="f52" fmla="val 62"/>
                <a:gd name="f53" fmla="val 77"/>
                <a:gd name="f54" fmla="val 87"/>
                <a:gd name="f55" fmla="val 100"/>
                <a:gd name="f56" fmla="val 112"/>
                <a:gd name="f57" fmla="val 127"/>
                <a:gd name="f58" fmla="val 141"/>
                <a:gd name="f59" fmla="val 152"/>
                <a:gd name="f60" fmla="val 167"/>
                <a:gd name="f61" fmla="val 172"/>
                <a:gd name="f62" fmla="val 187"/>
                <a:gd name="f63" fmla="val 194"/>
                <a:gd name="f64" fmla="val 107"/>
                <a:gd name="f65" fmla="val 206"/>
                <a:gd name="f66" fmla="val 71"/>
                <a:gd name="f67" fmla="+- 0 0 -90"/>
                <a:gd name="f68" fmla="*/ f3 1 209"/>
                <a:gd name="f69" fmla="*/ f4 1 147"/>
                <a:gd name="f70" fmla="+- f7 0 f5"/>
                <a:gd name="f71" fmla="+- f6 0 f5"/>
                <a:gd name="f72" fmla="*/ f67 f0 1"/>
                <a:gd name="f73" fmla="*/ f71 1 209"/>
                <a:gd name="f74" fmla="*/ f70 1 147"/>
                <a:gd name="f75" fmla="*/ f72 1 f2"/>
                <a:gd name="f76" fmla="*/ 201 1 f73"/>
                <a:gd name="f77" fmla="*/ 52 1 f74"/>
                <a:gd name="f78" fmla="*/ 179 1 f73"/>
                <a:gd name="f79" fmla="*/ 28 1 f74"/>
                <a:gd name="f80" fmla="*/ 165 1 f73"/>
                <a:gd name="f81" fmla="*/ 20 1 f74"/>
                <a:gd name="f82" fmla="*/ 139 1 f73"/>
                <a:gd name="f83" fmla="*/ 13 1 f74"/>
                <a:gd name="f84" fmla="*/ 134 1 f73"/>
                <a:gd name="f85" fmla="*/ 0 1 f74"/>
                <a:gd name="f86" fmla="*/ 125 1 f73"/>
                <a:gd name="f87" fmla="*/ 22 1 f74"/>
                <a:gd name="f88" fmla="*/ 120 1 f73"/>
                <a:gd name="f89" fmla="*/ 25 1 f74"/>
                <a:gd name="f90" fmla="*/ 109 1 f73"/>
                <a:gd name="f91" fmla="*/ 97 1 f73"/>
                <a:gd name="f92" fmla="*/ 33 1 f74"/>
                <a:gd name="f93" fmla="*/ 89 1 f73"/>
                <a:gd name="f94" fmla="*/ 40 1 f74"/>
                <a:gd name="f95" fmla="*/ 80 1 f73"/>
                <a:gd name="f96" fmla="*/ 47 1 f74"/>
                <a:gd name="f97" fmla="*/ 74 1 f73"/>
                <a:gd name="f98" fmla="*/ 35 1 f74"/>
                <a:gd name="f99" fmla="*/ 64 1 f73"/>
                <a:gd name="f100" fmla="*/ 57 1 f73"/>
                <a:gd name="f101" fmla="*/ 48 1 f73"/>
                <a:gd name="f102" fmla="*/ 44 1 f73"/>
                <a:gd name="f103" fmla="*/ 54 1 f73"/>
                <a:gd name="f104" fmla="*/ 49 1 f73"/>
                <a:gd name="f105" fmla="*/ 55 1 f74"/>
                <a:gd name="f106" fmla="*/ 40 1 f73"/>
                <a:gd name="f107" fmla="*/ 35 1 f73"/>
                <a:gd name="f108" fmla="*/ 58 1 f74"/>
                <a:gd name="f109" fmla="*/ 33 1 f73"/>
                <a:gd name="f110" fmla="*/ 67 1 f74"/>
                <a:gd name="f111" fmla="*/ 28 1 f73"/>
                <a:gd name="f112" fmla="*/ 72 1 f74"/>
                <a:gd name="f113" fmla="*/ 15 1 f73"/>
                <a:gd name="f114" fmla="*/ 76 1 f74"/>
                <a:gd name="f115" fmla="*/ 0 1 f73"/>
                <a:gd name="f116" fmla="*/ 75 1 f74"/>
                <a:gd name="f117" fmla="*/ 20 1 f73"/>
                <a:gd name="f118" fmla="*/ 89 1 f74"/>
                <a:gd name="f119" fmla="*/ 22 1 f73"/>
                <a:gd name="f120" fmla="*/ 105 1 f74"/>
                <a:gd name="f121" fmla="*/ 24 1 f73"/>
                <a:gd name="f122" fmla="*/ 116 1 f74"/>
                <a:gd name="f123" fmla="*/ 129 1 f74"/>
                <a:gd name="f124" fmla="*/ 136 1 f74"/>
                <a:gd name="f125" fmla="*/ 29 1 f73"/>
                <a:gd name="f126" fmla="*/ 132 1 f74"/>
                <a:gd name="f127" fmla="*/ 42 1 f73"/>
                <a:gd name="f128" fmla="*/ 143 1 f74"/>
                <a:gd name="f129" fmla="*/ 62 1 f73"/>
                <a:gd name="f130" fmla="*/ 77 1 f73"/>
                <a:gd name="f131" fmla="*/ 87 1 f73"/>
                <a:gd name="f132" fmla="*/ 100 1 f73"/>
                <a:gd name="f133" fmla="*/ 112 1 f73"/>
                <a:gd name="f134" fmla="*/ 127 1 f73"/>
                <a:gd name="f135" fmla="*/ 147 1 f74"/>
                <a:gd name="f136" fmla="*/ 141 1 f74"/>
                <a:gd name="f137" fmla="*/ 152 1 f73"/>
                <a:gd name="f138" fmla="*/ 125 1 f74"/>
                <a:gd name="f139" fmla="*/ 167 1 f73"/>
                <a:gd name="f140" fmla="*/ 127 1 f74"/>
                <a:gd name="f141" fmla="*/ 172 1 f73"/>
                <a:gd name="f142" fmla="*/ 112 1 f74"/>
                <a:gd name="f143" fmla="*/ 187 1 f73"/>
                <a:gd name="f144" fmla="*/ 109 1 f74"/>
                <a:gd name="f145" fmla="*/ 194 1 f73"/>
                <a:gd name="f146" fmla="*/ 107 1 f74"/>
                <a:gd name="f147" fmla="*/ 206 1 f73"/>
                <a:gd name="f148" fmla="*/ 100 1 f74"/>
                <a:gd name="f149" fmla="*/ 209 1 f73"/>
                <a:gd name="f150" fmla="*/ 71 1 f74"/>
                <a:gd name="f151" fmla="*/ f6 1 f73"/>
                <a:gd name="f152" fmla="*/ f7 1 f74"/>
                <a:gd name="f153" fmla="+- f75 0 f1"/>
                <a:gd name="f154" fmla="*/ f115 f68 1"/>
                <a:gd name="f155" fmla="*/ f151 f68 1"/>
                <a:gd name="f156" fmla="*/ f152 f69 1"/>
                <a:gd name="f157" fmla="*/ f85 f69 1"/>
                <a:gd name="f158" fmla="*/ f76 f68 1"/>
                <a:gd name="f159" fmla="*/ f77 f69 1"/>
                <a:gd name="f160" fmla="*/ f78 f68 1"/>
                <a:gd name="f161" fmla="*/ f79 f69 1"/>
                <a:gd name="f162" fmla="*/ f80 f68 1"/>
                <a:gd name="f163" fmla="*/ f81 f69 1"/>
                <a:gd name="f164" fmla="*/ f82 f68 1"/>
                <a:gd name="f165" fmla="*/ f83 f69 1"/>
                <a:gd name="f166" fmla="*/ f84 f68 1"/>
                <a:gd name="f167" fmla="*/ f86 f68 1"/>
                <a:gd name="f168" fmla="*/ f87 f69 1"/>
                <a:gd name="f169" fmla="*/ f88 f68 1"/>
                <a:gd name="f170" fmla="*/ f89 f69 1"/>
                <a:gd name="f171" fmla="*/ f90 f68 1"/>
                <a:gd name="f172" fmla="*/ f91 f68 1"/>
                <a:gd name="f173" fmla="*/ f92 f69 1"/>
                <a:gd name="f174" fmla="*/ f93 f68 1"/>
                <a:gd name="f175" fmla="*/ f94 f69 1"/>
                <a:gd name="f176" fmla="*/ f95 f68 1"/>
                <a:gd name="f177" fmla="*/ f96 f69 1"/>
                <a:gd name="f178" fmla="*/ f97 f68 1"/>
                <a:gd name="f179" fmla="*/ f98 f69 1"/>
                <a:gd name="f180" fmla="*/ f99 f68 1"/>
                <a:gd name="f181" fmla="*/ f100 f68 1"/>
                <a:gd name="f182" fmla="*/ f101 f68 1"/>
                <a:gd name="f183" fmla="*/ f102 f68 1"/>
                <a:gd name="f184" fmla="*/ f103 f68 1"/>
                <a:gd name="f185" fmla="*/ f104 f68 1"/>
                <a:gd name="f186" fmla="*/ f105 f69 1"/>
                <a:gd name="f187" fmla="*/ f106 f68 1"/>
                <a:gd name="f188" fmla="*/ f107 f68 1"/>
                <a:gd name="f189" fmla="*/ f108 f69 1"/>
                <a:gd name="f190" fmla="*/ f109 f68 1"/>
                <a:gd name="f191" fmla="*/ f110 f69 1"/>
                <a:gd name="f192" fmla="*/ f111 f68 1"/>
                <a:gd name="f193" fmla="*/ f112 f69 1"/>
                <a:gd name="f194" fmla="*/ f113 f68 1"/>
                <a:gd name="f195" fmla="*/ f114 f69 1"/>
                <a:gd name="f196" fmla="*/ f116 f69 1"/>
                <a:gd name="f197" fmla="*/ f117 f68 1"/>
                <a:gd name="f198" fmla="*/ f118 f69 1"/>
                <a:gd name="f199" fmla="*/ f119 f68 1"/>
                <a:gd name="f200" fmla="*/ f120 f69 1"/>
                <a:gd name="f201" fmla="*/ f121 f68 1"/>
                <a:gd name="f202" fmla="*/ f122 f69 1"/>
                <a:gd name="f203" fmla="*/ f123 f69 1"/>
                <a:gd name="f204" fmla="*/ f124 f69 1"/>
                <a:gd name="f205" fmla="*/ f125 f68 1"/>
                <a:gd name="f206" fmla="*/ f126 f69 1"/>
                <a:gd name="f207" fmla="*/ f127 f68 1"/>
                <a:gd name="f208" fmla="*/ f128 f69 1"/>
                <a:gd name="f209" fmla="*/ f129 f68 1"/>
                <a:gd name="f210" fmla="*/ f130 f68 1"/>
                <a:gd name="f211" fmla="*/ f131 f68 1"/>
                <a:gd name="f212" fmla="*/ f132 f68 1"/>
                <a:gd name="f213" fmla="*/ f133 f68 1"/>
                <a:gd name="f214" fmla="*/ f134 f68 1"/>
                <a:gd name="f215" fmla="*/ f135 f69 1"/>
                <a:gd name="f216" fmla="*/ f136 f69 1"/>
                <a:gd name="f217" fmla="*/ f137 f68 1"/>
                <a:gd name="f218" fmla="*/ f138 f69 1"/>
                <a:gd name="f219" fmla="*/ f139 f68 1"/>
                <a:gd name="f220" fmla="*/ f140 f69 1"/>
                <a:gd name="f221" fmla="*/ f141 f68 1"/>
                <a:gd name="f222" fmla="*/ f142 f69 1"/>
                <a:gd name="f223" fmla="*/ f143 f68 1"/>
                <a:gd name="f224" fmla="*/ f144 f69 1"/>
                <a:gd name="f225" fmla="*/ f145 f68 1"/>
                <a:gd name="f226" fmla="*/ f146 f69 1"/>
                <a:gd name="f227" fmla="*/ f147 f68 1"/>
                <a:gd name="f228" fmla="*/ f148 f69 1"/>
                <a:gd name="f229" fmla="*/ f149 f68 1"/>
                <a:gd name="f230" fmla="*/ f150 f6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53">
                  <a:pos x="f158" y="f159"/>
                </a:cxn>
                <a:cxn ang="f153">
                  <a:pos x="f160" y="f161"/>
                </a:cxn>
                <a:cxn ang="f153">
                  <a:pos x="f162" y="f163"/>
                </a:cxn>
                <a:cxn ang="f153">
                  <a:pos x="f164" y="f165"/>
                </a:cxn>
                <a:cxn ang="f153">
                  <a:pos x="f166" y="f157"/>
                </a:cxn>
                <a:cxn ang="f153">
                  <a:pos x="f167" y="f165"/>
                </a:cxn>
                <a:cxn ang="f153">
                  <a:pos x="f167" y="f168"/>
                </a:cxn>
                <a:cxn ang="f153">
                  <a:pos x="f169" y="f170"/>
                </a:cxn>
                <a:cxn ang="f153">
                  <a:pos x="f171" y="f161"/>
                </a:cxn>
                <a:cxn ang="f153">
                  <a:pos x="f172" y="f173"/>
                </a:cxn>
                <a:cxn ang="f153">
                  <a:pos x="f174" y="f175"/>
                </a:cxn>
                <a:cxn ang="f153">
                  <a:pos x="f176" y="f177"/>
                </a:cxn>
                <a:cxn ang="f153">
                  <a:pos x="f178" y="f179"/>
                </a:cxn>
                <a:cxn ang="f153">
                  <a:pos x="f180" y="f161"/>
                </a:cxn>
                <a:cxn ang="f153">
                  <a:pos x="f181" y="f168"/>
                </a:cxn>
                <a:cxn ang="f153">
                  <a:pos x="f182" y="f161"/>
                </a:cxn>
                <a:cxn ang="f153">
                  <a:pos x="f183" y="f179"/>
                </a:cxn>
                <a:cxn ang="f153">
                  <a:pos x="f184" y="f177"/>
                </a:cxn>
                <a:cxn ang="f153">
                  <a:pos x="f185" y="f186"/>
                </a:cxn>
                <a:cxn ang="f153">
                  <a:pos x="f187" y="f186"/>
                </a:cxn>
                <a:cxn ang="f153">
                  <a:pos x="f188" y="f189"/>
                </a:cxn>
                <a:cxn ang="f153">
                  <a:pos x="f190" y="f191"/>
                </a:cxn>
                <a:cxn ang="f153">
                  <a:pos x="f192" y="f193"/>
                </a:cxn>
                <a:cxn ang="f153">
                  <a:pos x="f194" y="f195"/>
                </a:cxn>
                <a:cxn ang="f153">
                  <a:pos x="f154" y="f196"/>
                </a:cxn>
                <a:cxn ang="f153">
                  <a:pos x="f197" y="f198"/>
                </a:cxn>
                <a:cxn ang="f153">
                  <a:pos x="f199" y="f200"/>
                </a:cxn>
                <a:cxn ang="f153">
                  <a:pos x="f201" y="f202"/>
                </a:cxn>
                <a:cxn ang="f153">
                  <a:pos x="f199" y="f203"/>
                </a:cxn>
                <a:cxn ang="f153">
                  <a:pos x="f197" y="f204"/>
                </a:cxn>
                <a:cxn ang="f153">
                  <a:pos x="f205" y="f206"/>
                </a:cxn>
                <a:cxn ang="f153">
                  <a:pos x="f207" y="f208"/>
                </a:cxn>
                <a:cxn ang="f153">
                  <a:pos x="f209" y="f206"/>
                </a:cxn>
                <a:cxn ang="f153">
                  <a:pos x="f210" y="f203"/>
                </a:cxn>
                <a:cxn ang="f153">
                  <a:pos x="f211" y="f203"/>
                </a:cxn>
                <a:cxn ang="f153">
                  <a:pos x="f212" y="f204"/>
                </a:cxn>
                <a:cxn ang="f153">
                  <a:pos x="f213" y="f208"/>
                </a:cxn>
                <a:cxn ang="f153">
                  <a:pos x="f214" y="f215"/>
                </a:cxn>
                <a:cxn ang="f153">
                  <a:pos x="f164" y="f216"/>
                </a:cxn>
                <a:cxn ang="f153">
                  <a:pos x="f217" y="f218"/>
                </a:cxn>
                <a:cxn ang="f153">
                  <a:pos x="f219" y="f220"/>
                </a:cxn>
                <a:cxn ang="f153">
                  <a:pos x="f221" y="f222"/>
                </a:cxn>
                <a:cxn ang="f153">
                  <a:pos x="f223" y="f224"/>
                </a:cxn>
                <a:cxn ang="f153">
                  <a:pos x="f225" y="f222"/>
                </a:cxn>
                <a:cxn ang="f153">
                  <a:pos x="f158" y="f226"/>
                </a:cxn>
                <a:cxn ang="f153">
                  <a:pos x="f227" y="f228"/>
                </a:cxn>
                <a:cxn ang="f153">
                  <a:pos x="f229" y="f198"/>
                </a:cxn>
                <a:cxn ang="f153">
                  <a:pos x="f229" y="f230"/>
                </a:cxn>
                <a:cxn ang="f153">
                  <a:pos x="f158" y="f159"/>
                </a:cxn>
              </a:cxnLst>
              <a:rect l="f154" t="f157" r="f155" b="f156"/>
              <a:pathLst>
                <a:path w="209" h="147">
                  <a:moveTo>
                    <a:pt x="f8" y="f9"/>
                  </a:move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5"/>
                  </a:lnTo>
                  <a:lnTo>
                    <a:pt x="f17" y="f15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11"/>
                  </a:lnTo>
                  <a:lnTo>
                    <a:pt x="f22" y="f23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28" y="f29"/>
                  </a:lnTo>
                  <a:lnTo>
                    <a:pt x="f30" y="f11"/>
                  </a:lnTo>
                  <a:lnTo>
                    <a:pt x="f31" y="f18"/>
                  </a:lnTo>
                  <a:lnTo>
                    <a:pt x="f32" y="f11"/>
                  </a:lnTo>
                  <a:lnTo>
                    <a:pt x="f33" y="f29"/>
                  </a:lnTo>
                  <a:lnTo>
                    <a:pt x="f34" y="f27"/>
                  </a:lnTo>
                  <a:lnTo>
                    <a:pt x="f35" y="f36"/>
                  </a:lnTo>
                  <a:lnTo>
                    <a:pt x="f25" y="f36"/>
                  </a:lnTo>
                  <a:lnTo>
                    <a:pt x="f29" y="f37"/>
                  </a:lnTo>
                  <a:lnTo>
                    <a:pt x="f23" y="f38"/>
                  </a:lnTo>
                  <a:lnTo>
                    <a:pt x="f11" y="f39"/>
                  </a:lnTo>
                  <a:lnTo>
                    <a:pt x="f40" y="f41"/>
                  </a:lnTo>
                  <a:lnTo>
                    <a:pt x="f5" y="f42"/>
                  </a:lnTo>
                  <a:lnTo>
                    <a:pt x="f13" y="f24"/>
                  </a:lnTo>
                  <a:lnTo>
                    <a:pt x="f18" y="f43"/>
                  </a:lnTo>
                  <a:lnTo>
                    <a:pt x="f44" y="f45"/>
                  </a:lnTo>
                  <a:lnTo>
                    <a:pt x="f18" y="f46"/>
                  </a:lnTo>
                  <a:lnTo>
                    <a:pt x="f13" y="f47"/>
                  </a:lnTo>
                  <a:lnTo>
                    <a:pt x="f48" y="f49"/>
                  </a:lnTo>
                  <a:lnTo>
                    <a:pt x="f50" y="f51"/>
                  </a:lnTo>
                  <a:lnTo>
                    <a:pt x="f52" y="f49"/>
                  </a:lnTo>
                  <a:lnTo>
                    <a:pt x="f53" y="f46"/>
                  </a:lnTo>
                  <a:lnTo>
                    <a:pt x="f54" y="f46"/>
                  </a:lnTo>
                  <a:lnTo>
                    <a:pt x="f55" y="f47"/>
                  </a:lnTo>
                  <a:lnTo>
                    <a:pt x="f56" y="f51"/>
                  </a:lnTo>
                  <a:lnTo>
                    <a:pt x="f57" y="f7"/>
                  </a:lnTo>
                  <a:lnTo>
                    <a:pt x="f14" y="f58"/>
                  </a:lnTo>
                  <a:lnTo>
                    <a:pt x="f59" y="f17"/>
                  </a:lnTo>
                  <a:lnTo>
                    <a:pt x="f60" y="f57"/>
                  </a:lnTo>
                  <a:lnTo>
                    <a:pt x="f61" y="f56"/>
                  </a:lnTo>
                  <a:lnTo>
                    <a:pt x="f62" y="f21"/>
                  </a:lnTo>
                  <a:lnTo>
                    <a:pt x="f63" y="f56"/>
                  </a:lnTo>
                  <a:lnTo>
                    <a:pt x="f8" y="f64"/>
                  </a:lnTo>
                  <a:lnTo>
                    <a:pt x="f65" y="f55"/>
                  </a:lnTo>
                  <a:lnTo>
                    <a:pt x="f6" y="f24"/>
                  </a:lnTo>
                  <a:lnTo>
                    <a:pt x="f6" y="f66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D9D9D9"/>
            </a:solidFill>
            <a:ln w="6345" cap="flat">
              <a:solidFill>
                <a:srgbClr val="A6A6A6"/>
              </a:solidFill>
              <a:prstDash val="solid"/>
              <a:round/>
            </a:ln>
          </p:spPr>
          <p:txBody>
            <a:bodyPr vert="horz" wrap="square" lIns="68580" tIns="34290" rIns="68580" bIns="3429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290" rtl="0" fontAlgn="auto" hangingPunct="1">
                <a:lnSpc>
                  <a:spcPct val="100000"/>
                </a:lnSpc>
                <a:spcBef>
                  <a:spcPts val="50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000" b="0" i="0" u="none" strike="noStrike" kern="0" cap="none" spc="0" baseline="0">
                <a:solidFill>
                  <a:srgbClr val="133B9C"/>
                </a:solidFill>
                <a:highlight>
                  <a:srgbClr val="008556"/>
                </a:highlight>
                <a:uFillTx/>
                <a:latin typeface="Arial"/>
              </a:endParaRPr>
            </a:p>
          </p:txBody>
        </p:sp>
        <p:sp>
          <p:nvSpPr>
            <p:cNvPr id="18" name="Freeform 157">
              <a:extLst>
                <a:ext uri="{FF2B5EF4-FFF2-40B4-BE49-F238E27FC236}">
                  <a16:creationId xmlns:a16="http://schemas.microsoft.com/office/drawing/2014/main" id="{05B18120-D578-1F12-3188-48FCF771CC4A}"/>
                </a:ext>
              </a:extLst>
            </p:cNvPr>
            <p:cNvSpPr/>
            <p:nvPr/>
          </p:nvSpPr>
          <p:spPr>
            <a:xfrm>
              <a:off x="5018995" y="2421148"/>
              <a:ext cx="248808" cy="209434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66"/>
                <a:gd name="f7" fmla="val 250"/>
                <a:gd name="f8" fmla="val 137"/>
                <a:gd name="f9" fmla="val 152"/>
                <a:gd name="f10" fmla="val 35"/>
                <a:gd name="f11" fmla="val 162"/>
                <a:gd name="f12" fmla="val 60"/>
                <a:gd name="f13" fmla="val 167"/>
                <a:gd name="f14" fmla="val 71"/>
                <a:gd name="f15" fmla="val 170"/>
                <a:gd name="f16" fmla="val 89"/>
                <a:gd name="f17" fmla="val 190"/>
                <a:gd name="f18" fmla="val 104"/>
                <a:gd name="f19" fmla="val 206"/>
                <a:gd name="f20" fmla="val 118"/>
                <a:gd name="f21" fmla="val 231"/>
                <a:gd name="f22" fmla="val 141"/>
                <a:gd name="f23" fmla="val 255"/>
                <a:gd name="f24" fmla="val 156"/>
                <a:gd name="f25" fmla="val 168"/>
                <a:gd name="f26" fmla="val 262"/>
                <a:gd name="f27" fmla="val 178"/>
                <a:gd name="f28" fmla="val 183"/>
                <a:gd name="f29" fmla="val 185"/>
                <a:gd name="f30" fmla="val 251"/>
                <a:gd name="f31" fmla="val 196"/>
                <a:gd name="f32" fmla="val 244"/>
                <a:gd name="f33" fmla="val 201"/>
                <a:gd name="f34" fmla="val 237"/>
                <a:gd name="f35" fmla="val 205"/>
                <a:gd name="f36" fmla="val 230"/>
                <a:gd name="f37" fmla="val 210"/>
                <a:gd name="f38" fmla="val 221"/>
                <a:gd name="f39" fmla="val 212"/>
                <a:gd name="f40" fmla="val 197"/>
                <a:gd name="f41" fmla="val 186"/>
                <a:gd name="f42" fmla="val 198"/>
                <a:gd name="f43" fmla="val 179"/>
                <a:gd name="f44" fmla="val 174"/>
                <a:gd name="f45" fmla="val 182"/>
                <a:gd name="f46" fmla="val 177"/>
                <a:gd name="f47" fmla="val 228"/>
                <a:gd name="f48" fmla="val 235"/>
                <a:gd name="f49" fmla="val 159"/>
                <a:gd name="f50" fmla="val 243"/>
                <a:gd name="f51" fmla="val 248"/>
                <a:gd name="f52" fmla="val 145"/>
                <a:gd name="f53" fmla="val 130"/>
                <a:gd name="f54" fmla="val 110"/>
                <a:gd name="f55" fmla="val 245"/>
                <a:gd name="f56" fmla="val 94"/>
                <a:gd name="f57" fmla="val 80"/>
                <a:gd name="f58" fmla="val 223"/>
                <a:gd name="f59" fmla="val 53"/>
                <a:gd name="f60" fmla="val 43"/>
                <a:gd name="f61" fmla="val 23"/>
                <a:gd name="f62" fmla="val 192"/>
                <a:gd name="f63" fmla="val 10"/>
                <a:gd name="f64" fmla="val 5"/>
                <a:gd name="f65" fmla="val 2"/>
                <a:gd name="f66" fmla="val 173"/>
                <a:gd name="f67" fmla="val 143"/>
                <a:gd name="f68" fmla="val 7"/>
                <a:gd name="f69" fmla="val 138"/>
                <a:gd name="f70" fmla="val 127"/>
                <a:gd name="f71" fmla="val 114"/>
                <a:gd name="f72" fmla="val 100"/>
                <a:gd name="f73" fmla="val 96"/>
                <a:gd name="f74" fmla="val 84"/>
                <a:gd name="f75" fmla="val 76"/>
                <a:gd name="f76" fmla="val 64"/>
                <a:gd name="f77" fmla="val 47"/>
                <a:gd name="f78" fmla="val 54"/>
                <a:gd name="f79" fmla="val 50"/>
                <a:gd name="f80" fmla="val 42"/>
                <a:gd name="f81" fmla="val 70"/>
                <a:gd name="f82" fmla="val 24"/>
                <a:gd name="f83" fmla="val 90"/>
                <a:gd name="f84" fmla="val 27"/>
                <a:gd name="f85" fmla="val 98"/>
                <a:gd name="f86" fmla="val 17"/>
                <a:gd name="f87" fmla="val 15"/>
                <a:gd name="f88" fmla="val 125"/>
                <a:gd name="f89" fmla="val 8"/>
                <a:gd name="f90" fmla="+- 0 0 -90"/>
                <a:gd name="f91" fmla="*/ f3 1 266"/>
                <a:gd name="f92" fmla="*/ f4 1 250"/>
                <a:gd name="f93" fmla="+- f7 0 f5"/>
                <a:gd name="f94" fmla="+- f6 0 f5"/>
                <a:gd name="f95" fmla="*/ f90 f0 1"/>
                <a:gd name="f96" fmla="*/ f94 1 266"/>
                <a:gd name="f97" fmla="*/ f93 1 250"/>
                <a:gd name="f98" fmla="*/ f95 1 f2"/>
                <a:gd name="f99" fmla="*/ 137 1 f96"/>
                <a:gd name="f100" fmla="*/ 0 1 f97"/>
                <a:gd name="f101" fmla="*/ 152 1 f96"/>
                <a:gd name="f102" fmla="*/ 35 1 f97"/>
                <a:gd name="f103" fmla="*/ 162 1 f96"/>
                <a:gd name="f104" fmla="*/ 60 1 f97"/>
                <a:gd name="f105" fmla="*/ 167 1 f96"/>
                <a:gd name="f106" fmla="*/ 71 1 f97"/>
                <a:gd name="f107" fmla="*/ 170 1 f96"/>
                <a:gd name="f108" fmla="*/ 89 1 f97"/>
                <a:gd name="f109" fmla="*/ 190 1 f96"/>
                <a:gd name="f110" fmla="*/ 104 1 f97"/>
                <a:gd name="f111" fmla="*/ 206 1 f96"/>
                <a:gd name="f112" fmla="*/ 118 1 f97"/>
                <a:gd name="f113" fmla="*/ 231 1 f96"/>
                <a:gd name="f114" fmla="*/ 141 1 f97"/>
                <a:gd name="f115" fmla="*/ 255 1 f96"/>
                <a:gd name="f116" fmla="*/ 156 1 f97"/>
                <a:gd name="f117" fmla="*/ 266 1 f96"/>
                <a:gd name="f118" fmla="*/ 168 1 f97"/>
                <a:gd name="f119" fmla="*/ 262 1 f96"/>
                <a:gd name="f120" fmla="*/ 178 1 f97"/>
                <a:gd name="f121" fmla="*/ 183 1 f97"/>
                <a:gd name="f122" fmla="*/ 250 1 f96"/>
                <a:gd name="f123" fmla="*/ 185 1 f97"/>
                <a:gd name="f124" fmla="*/ 251 1 f96"/>
                <a:gd name="f125" fmla="*/ 196 1 f97"/>
                <a:gd name="f126" fmla="*/ 244 1 f96"/>
                <a:gd name="f127" fmla="*/ 201 1 f97"/>
                <a:gd name="f128" fmla="*/ 237 1 f96"/>
                <a:gd name="f129" fmla="*/ 205 1 f97"/>
                <a:gd name="f130" fmla="*/ 230 1 f96"/>
                <a:gd name="f131" fmla="*/ 210 1 f96"/>
                <a:gd name="f132" fmla="*/ 221 1 f97"/>
                <a:gd name="f133" fmla="*/ 212 1 f97"/>
                <a:gd name="f134" fmla="*/ 197 1 f96"/>
                <a:gd name="f135" fmla="*/ 186 1 f96"/>
                <a:gd name="f136" fmla="*/ 198 1 f97"/>
                <a:gd name="f137" fmla="*/ 179 1 f96"/>
                <a:gd name="f138" fmla="*/ 174 1 f96"/>
                <a:gd name="f139" fmla="*/ 182 1 f96"/>
                <a:gd name="f140" fmla="*/ 177 1 f96"/>
                <a:gd name="f141" fmla="*/ 228 1 f97"/>
                <a:gd name="f142" fmla="*/ 230 1 f97"/>
                <a:gd name="f143" fmla="*/ 235 1 f97"/>
                <a:gd name="f144" fmla="*/ 159 1 f96"/>
                <a:gd name="f145" fmla="*/ 243 1 f97"/>
                <a:gd name="f146" fmla="*/ 248 1 f97"/>
                <a:gd name="f147" fmla="*/ 145 1 f96"/>
                <a:gd name="f148" fmla="*/ 250 1 f97"/>
                <a:gd name="f149" fmla="*/ 130 1 f96"/>
                <a:gd name="f150" fmla="*/ 110 1 f96"/>
                <a:gd name="f151" fmla="*/ 245 1 f97"/>
                <a:gd name="f152" fmla="*/ 94 1 f96"/>
                <a:gd name="f153" fmla="*/ 80 1 f96"/>
                <a:gd name="f154" fmla="*/ 223 1 f97"/>
                <a:gd name="f155" fmla="*/ 60 1 f96"/>
                <a:gd name="f156" fmla="*/ 53 1 f96"/>
                <a:gd name="f157" fmla="*/ 43 1 f96"/>
                <a:gd name="f158" fmla="*/ 23 1 f96"/>
                <a:gd name="f159" fmla="*/ 192 1 f97"/>
                <a:gd name="f160" fmla="*/ 10 1 f96"/>
                <a:gd name="f161" fmla="*/ 5 1 f96"/>
                <a:gd name="f162" fmla="*/ 2 1 f96"/>
                <a:gd name="f163" fmla="*/ 173 1 f97"/>
                <a:gd name="f164" fmla="*/ 143 1 f97"/>
                <a:gd name="f165" fmla="*/ 7 1 f96"/>
                <a:gd name="f166" fmla="*/ 138 1 f97"/>
                <a:gd name="f167" fmla="*/ 127 1 f97"/>
                <a:gd name="f168" fmla="*/ 0 1 f96"/>
                <a:gd name="f169" fmla="*/ 114 1 f97"/>
                <a:gd name="f170" fmla="*/ 100 1 f97"/>
                <a:gd name="f171" fmla="*/ 96 1 f97"/>
                <a:gd name="f172" fmla="*/ 84 1 f97"/>
                <a:gd name="f173" fmla="*/ 76 1 f97"/>
                <a:gd name="f174" fmla="*/ 64 1 f97"/>
                <a:gd name="f175" fmla="*/ 35 1 f96"/>
                <a:gd name="f176" fmla="*/ 47 1 f96"/>
                <a:gd name="f177" fmla="*/ 54 1 f96"/>
                <a:gd name="f178" fmla="*/ 50 1 f97"/>
                <a:gd name="f179" fmla="*/ 42 1 f97"/>
                <a:gd name="f180" fmla="*/ 70 1 f96"/>
                <a:gd name="f181" fmla="*/ 24 1 f97"/>
                <a:gd name="f182" fmla="*/ 90 1 f96"/>
                <a:gd name="f183" fmla="*/ 27 1 f97"/>
                <a:gd name="f184" fmla="*/ 98 1 f96"/>
                <a:gd name="f185" fmla="*/ 17 1 f97"/>
                <a:gd name="f186" fmla="*/ 114 1 f96"/>
                <a:gd name="f187" fmla="*/ 15 1 f97"/>
                <a:gd name="f188" fmla="*/ 125 1 f96"/>
                <a:gd name="f189" fmla="*/ 8 1 f97"/>
                <a:gd name="f190" fmla="*/ f6 1 f96"/>
                <a:gd name="f191" fmla="*/ f7 1 f97"/>
                <a:gd name="f192" fmla="+- f98 0 f1"/>
                <a:gd name="f193" fmla="*/ f168 f91 1"/>
                <a:gd name="f194" fmla="*/ f190 f91 1"/>
                <a:gd name="f195" fmla="*/ f191 f92 1"/>
                <a:gd name="f196" fmla="*/ f100 f92 1"/>
                <a:gd name="f197" fmla="*/ f99 f91 1"/>
                <a:gd name="f198" fmla="*/ f101 f91 1"/>
                <a:gd name="f199" fmla="*/ f102 f92 1"/>
                <a:gd name="f200" fmla="*/ f103 f91 1"/>
                <a:gd name="f201" fmla="*/ f104 f92 1"/>
                <a:gd name="f202" fmla="*/ f105 f91 1"/>
                <a:gd name="f203" fmla="*/ f106 f92 1"/>
                <a:gd name="f204" fmla="*/ f107 f91 1"/>
                <a:gd name="f205" fmla="*/ f108 f92 1"/>
                <a:gd name="f206" fmla="*/ f109 f91 1"/>
                <a:gd name="f207" fmla="*/ f110 f92 1"/>
                <a:gd name="f208" fmla="*/ f111 f91 1"/>
                <a:gd name="f209" fmla="*/ f112 f92 1"/>
                <a:gd name="f210" fmla="*/ f113 f91 1"/>
                <a:gd name="f211" fmla="*/ f114 f92 1"/>
                <a:gd name="f212" fmla="*/ f115 f91 1"/>
                <a:gd name="f213" fmla="*/ f116 f92 1"/>
                <a:gd name="f214" fmla="*/ f117 f91 1"/>
                <a:gd name="f215" fmla="*/ f118 f92 1"/>
                <a:gd name="f216" fmla="*/ f119 f91 1"/>
                <a:gd name="f217" fmla="*/ f120 f92 1"/>
                <a:gd name="f218" fmla="*/ f121 f92 1"/>
                <a:gd name="f219" fmla="*/ f122 f91 1"/>
                <a:gd name="f220" fmla="*/ f123 f92 1"/>
                <a:gd name="f221" fmla="*/ f124 f91 1"/>
                <a:gd name="f222" fmla="*/ f125 f92 1"/>
                <a:gd name="f223" fmla="*/ f126 f91 1"/>
                <a:gd name="f224" fmla="*/ f127 f92 1"/>
                <a:gd name="f225" fmla="*/ f128 f91 1"/>
                <a:gd name="f226" fmla="*/ f129 f92 1"/>
                <a:gd name="f227" fmla="*/ f130 f91 1"/>
                <a:gd name="f228" fmla="*/ f131 f91 1"/>
                <a:gd name="f229" fmla="*/ f132 f92 1"/>
                <a:gd name="f230" fmla="*/ f133 f92 1"/>
                <a:gd name="f231" fmla="*/ f134 f91 1"/>
                <a:gd name="f232" fmla="*/ f135 f91 1"/>
                <a:gd name="f233" fmla="*/ f136 f92 1"/>
                <a:gd name="f234" fmla="*/ f137 f91 1"/>
                <a:gd name="f235" fmla="*/ f138 f91 1"/>
                <a:gd name="f236" fmla="*/ f139 f91 1"/>
                <a:gd name="f237" fmla="*/ f140 f91 1"/>
                <a:gd name="f238" fmla="*/ f141 f92 1"/>
                <a:gd name="f239" fmla="*/ f142 f92 1"/>
                <a:gd name="f240" fmla="*/ f143 f92 1"/>
                <a:gd name="f241" fmla="*/ f144 f91 1"/>
                <a:gd name="f242" fmla="*/ f145 f92 1"/>
                <a:gd name="f243" fmla="*/ f146 f92 1"/>
                <a:gd name="f244" fmla="*/ f147 f91 1"/>
                <a:gd name="f245" fmla="*/ f148 f92 1"/>
                <a:gd name="f246" fmla="*/ f149 f91 1"/>
                <a:gd name="f247" fmla="*/ f150 f91 1"/>
                <a:gd name="f248" fmla="*/ f151 f92 1"/>
                <a:gd name="f249" fmla="*/ f152 f91 1"/>
                <a:gd name="f250" fmla="*/ f153 f91 1"/>
                <a:gd name="f251" fmla="*/ f154 f92 1"/>
                <a:gd name="f252" fmla="*/ f155 f91 1"/>
                <a:gd name="f253" fmla="*/ f156 f91 1"/>
                <a:gd name="f254" fmla="*/ f157 f91 1"/>
                <a:gd name="f255" fmla="*/ f158 f91 1"/>
                <a:gd name="f256" fmla="*/ f159 f92 1"/>
                <a:gd name="f257" fmla="*/ f160 f91 1"/>
                <a:gd name="f258" fmla="*/ f161 f91 1"/>
                <a:gd name="f259" fmla="*/ f162 f91 1"/>
                <a:gd name="f260" fmla="*/ f163 f92 1"/>
                <a:gd name="f261" fmla="*/ f164 f92 1"/>
                <a:gd name="f262" fmla="*/ f165 f91 1"/>
                <a:gd name="f263" fmla="*/ f166 f92 1"/>
                <a:gd name="f264" fmla="*/ f167 f92 1"/>
                <a:gd name="f265" fmla="*/ f169 f92 1"/>
                <a:gd name="f266" fmla="*/ f170 f92 1"/>
                <a:gd name="f267" fmla="*/ f171 f92 1"/>
                <a:gd name="f268" fmla="*/ f172 f92 1"/>
                <a:gd name="f269" fmla="*/ f173 f92 1"/>
                <a:gd name="f270" fmla="*/ f174 f92 1"/>
                <a:gd name="f271" fmla="*/ f175 f91 1"/>
                <a:gd name="f272" fmla="*/ f176 f91 1"/>
                <a:gd name="f273" fmla="*/ f177 f91 1"/>
                <a:gd name="f274" fmla="*/ f178 f92 1"/>
                <a:gd name="f275" fmla="*/ f179 f92 1"/>
                <a:gd name="f276" fmla="*/ f180 f91 1"/>
                <a:gd name="f277" fmla="*/ f181 f92 1"/>
                <a:gd name="f278" fmla="*/ f182 f91 1"/>
                <a:gd name="f279" fmla="*/ f183 f92 1"/>
                <a:gd name="f280" fmla="*/ f184 f91 1"/>
                <a:gd name="f281" fmla="*/ f185 f92 1"/>
                <a:gd name="f282" fmla="*/ f186 f91 1"/>
                <a:gd name="f283" fmla="*/ f187 f92 1"/>
                <a:gd name="f284" fmla="*/ f188 f91 1"/>
                <a:gd name="f285" fmla="*/ f189 f9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92">
                  <a:pos x="f197" y="f196"/>
                </a:cxn>
                <a:cxn ang="f192">
                  <a:pos x="f198" y="f199"/>
                </a:cxn>
                <a:cxn ang="f192">
                  <a:pos x="f200" y="f201"/>
                </a:cxn>
                <a:cxn ang="f192">
                  <a:pos x="f202" y="f203"/>
                </a:cxn>
                <a:cxn ang="f192">
                  <a:pos x="f204" y="f205"/>
                </a:cxn>
                <a:cxn ang="f192">
                  <a:pos x="f206" y="f207"/>
                </a:cxn>
                <a:cxn ang="f192">
                  <a:pos x="f208" y="f209"/>
                </a:cxn>
                <a:cxn ang="f192">
                  <a:pos x="f210" y="f211"/>
                </a:cxn>
                <a:cxn ang="f192">
                  <a:pos x="f212" y="f213"/>
                </a:cxn>
                <a:cxn ang="f192">
                  <a:pos x="f214" y="f215"/>
                </a:cxn>
                <a:cxn ang="f192">
                  <a:pos x="f216" y="f217"/>
                </a:cxn>
                <a:cxn ang="f192">
                  <a:pos x="f212" y="f218"/>
                </a:cxn>
                <a:cxn ang="f192">
                  <a:pos x="f219" y="f220"/>
                </a:cxn>
                <a:cxn ang="f192">
                  <a:pos x="f221" y="f222"/>
                </a:cxn>
                <a:cxn ang="f192">
                  <a:pos x="f223" y="f224"/>
                </a:cxn>
                <a:cxn ang="f192">
                  <a:pos x="f225" y="f226"/>
                </a:cxn>
                <a:cxn ang="f192">
                  <a:pos x="f227" y="f226"/>
                </a:cxn>
                <a:cxn ang="f192">
                  <a:pos x="f228" y="f229"/>
                </a:cxn>
                <a:cxn ang="f192">
                  <a:pos x="f208" y="f230"/>
                </a:cxn>
                <a:cxn ang="f192">
                  <a:pos x="f231" y="f226"/>
                </a:cxn>
                <a:cxn ang="f192">
                  <a:pos x="f232" y="f233"/>
                </a:cxn>
                <a:cxn ang="f192">
                  <a:pos x="f234" y="f224"/>
                </a:cxn>
                <a:cxn ang="f192">
                  <a:pos x="f235" y="f226"/>
                </a:cxn>
                <a:cxn ang="f192">
                  <a:pos x="f235" y="f230"/>
                </a:cxn>
                <a:cxn ang="f192">
                  <a:pos x="f236" y="f229"/>
                </a:cxn>
                <a:cxn ang="f192">
                  <a:pos x="f237" y="f238"/>
                </a:cxn>
                <a:cxn ang="f192">
                  <a:pos x="f202" y="f239"/>
                </a:cxn>
                <a:cxn ang="f192">
                  <a:pos x="f200" y="f240"/>
                </a:cxn>
                <a:cxn ang="f192">
                  <a:pos x="f241" y="f242"/>
                </a:cxn>
                <a:cxn ang="f192">
                  <a:pos x="f198" y="f243"/>
                </a:cxn>
                <a:cxn ang="f192">
                  <a:pos x="f244" y="f245"/>
                </a:cxn>
                <a:cxn ang="f192">
                  <a:pos x="f246" y="f243"/>
                </a:cxn>
                <a:cxn ang="f192">
                  <a:pos x="f247" y="f248"/>
                </a:cxn>
                <a:cxn ang="f192">
                  <a:pos x="f249" y="f240"/>
                </a:cxn>
                <a:cxn ang="f192">
                  <a:pos x="f250" y="f251"/>
                </a:cxn>
                <a:cxn ang="f192">
                  <a:pos x="f252" y="f226"/>
                </a:cxn>
                <a:cxn ang="f192">
                  <a:pos x="f253" y="f233"/>
                </a:cxn>
                <a:cxn ang="f192">
                  <a:pos x="f254" y="f222"/>
                </a:cxn>
                <a:cxn ang="f192">
                  <a:pos x="f255" y="f256"/>
                </a:cxn>
                <a:cxn ang="f192">
                  <a:pos x="f257" y="f256"/>
                </a:cxn>
                <a:cxn ang="f192">
                  <a:pos x="f258" y="f220"/>
                </a:cxn>
                <a:cxn ang="f192">
                  <a:pos x="f259" y="f260"/>
                </a:cxn>
                <a:cxn ang="f192">
                  <a:pos x="f258" y="f213"/>
                </a:cxn>
                <a:cxn ang="f192">
                  <a:pos x="f257" y="f261"/>
                </a:cxn>
                <a:cxn ang="f192">
                  <a:pos x="f262" y="f263"/>
                </a:cxn>
                <a:cxn ang="f192">
                  <a:pos x="f258" y="f264"/>
                </a:cxn>
                <a:cxn ang="f192">
                  <a:pos x="f193" y="f265"/>
                </a:cxn>
                <a:cxn ang="f192">
                  <a:pos x="f193" y="f207"/>
                </a:cxn>
                <a:cxn ang="f192">
                  <a:pos x="f258" y="f266"/>
                </a:cxn>
                <a:cxn ang="f192">
                  <a:pos x="f257" y="f267"/>
                </a:cxn>
                <a:cxn ang="f192">
                  <a:pos x="f262" y="f268"/>
                </a:cxn>
                <a:cxn ang="f192">
                  <a:pos x="f257" y="f269"/>
                </a:cxn>
                <a:cxn ang="f192">
                  <a:pos x="f255" y="f270"/>
                </a:cxn>
                <a:cxn ang="f192">
                  <a:pos x="f271" y="f270"/>
                </a:cxn>
                <a:cxn ang="f192">
                  <a:pos x="f272" y="f201"/>
                </a:cxn>
                <a:cxn ang="f192">
                  <a:pos x="f273" y="f274"/>
                </a:cxn>
                <a:cxn ang="f192">
                  <a:pos x="f253" y="f275"/>
                </a:cxn>
                <a:cxn ang="f192">
                  <a:pos x="f276" y="f277"/>
                </a:cxn>
                <a:cxn ang="f192">
                  <a:pos x="f278" y="f279"/>
                </a:cxn>
                <a:cxn ang="f192">
                  <a:pos x="f280" y="f281"/>
                </a:cxn>
                <a:cxn ang="f192">
                  <a:pos x="f282" y="f283"/>
                </a:cxn>
                <a:cxn ang="f192">
                  <a:pos x="f284" y="f285"/>
                </a:cxn>
                <a:cxn ang="f192">
                  <a:pos x="f197" y="f196"/>
                </a:cxn>
              </a:cxnLst>
              <a:rect l="f193" t="f196" r="f194" b="f195"/>
              <a:pathLst>
                <a:path w="266" h="250">
                  <a:moveTo>
                    <a:pt x="f8" y="f5"/>
                  </a:move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5"/>
                  </a:lnTo>
                  <a:lnTo>
                    <a:pt x="f26" y="f27"/>
                  </a:lnTo>
                  <a:lnTo>
                    <a:pt x="f23" y="f28"/>
                  </a:lnTo>
                  <a:lnTo>
                    <a:pt x="f7" y="f29"/>
                  </a:lnTo>
                  <a:lnTo>
                    <a:pt x="f30" y="f31"/>
                  </a:lnTo>
                  <a:lnTo>
                    <a:pt x="f32" y="f33"/>
                  </a:lnTo>
                  <a:lnTo>
                    <a:pt x="f34" y="f35"/>
                  </a:lnTo>
                  <a:lnTo>
                    <a:pt x="f36" y="f35"/>
                  </a:lnTo>
                  <a:lnTo>
                    <a:pt x="f37" y="f38"/>
                  </a:lnTo>
                  <a:lnTo>
                    <a:pt x="f19" y="f39"/>
                  </a:lnTo>
                  <a:lnTo>
                    <a:pt x="f40" y="f35"/>
                  </a:lnTo>
                  <a:lnTo>
                    <a:pt x="f41" y="f42"/>
                  </a:lnTo>
                  <a:lnTo>
                    <a:pt x="f43" y="f33"/>
                  </a:lnTo>
                  <a:lnTo>
                    <a:pt x="f44" y="f35"/>
                  </a:lnTo>
                  <a:lnTo>
                    <a:pt x="f44" y="f39"/>
                  </a:lnTo>
                  <a:lnTo>
                    <a:pt x="f45" y="f38"/>
                  </a:lnTo>
                  <a:lnTo>
                    <a:pt x="f46" y="f47"/>
                  </a:lnTo>
                  <a:lnTo>
                    <a:pt x="f13" y="f36"/>
                  </a:lnTo>
                  <a:lnTo>
                    <a:pt x="f11" y="f48"/>
                  </a:lnTo>
                  <a:lnTo>
                    <a:pt x="f49" y="f50"/>
                  </a:lnTo>
                  <a:lnTo>
                    <a:pt x="f9" y="f51"/>
                  </a:lnTo>
                  <a:lnTo>
                    <a:pt x="f52" y="f7"/>
                  </a:lnTo>
                  <a:lnTo>
                    <a:pt x="f53" y="f51"/>
                  </a:lnTo>
                  <a:lnTo>
                    <a:pt x="f54" y="f55"/>
                  </a:lnTo>
                  <a:lnTo>
                    <a:pt x="f56" y="f48"/>
                  </a:lnTo>
                  <a:lnTo>
                    <a:pt x="f57" y="f58"/>
                  </a:lnTo>
                  <a:lnTo>
                    <a:pt x="f12" y="f35"/>
                  </a:lnTo>
                  <a:lnTo>
                    <a:pt x="f59" y="f42"/>
                  </a:lnTo>
                  <a:lnTo>
                    <a:pt x="f60" y="f31"/>
                  </a:lnTo>
                  <a:lnTo>
                    <a:pt x="f61" y="f62"/>
                  </a:lnTo>
                  <a:lnTo>
                    <a:pt x="f63" y="f62"/>
                  </a:lnTo>
                  <a:lnTo>
                    <a:pt x="f64" y="f29"/>
                  </a:lnTo>
                  <a:lnTo>
                    <a:pt x="f65" y="f66"/>
                  </a:lnTo>
                  <a:lnTo>
                    <a:pt x="f64" y="f24"/>
                  </a:lnTo>
                  <a:lnTo>
                    <a:pt x="f63" y="f67"/>
                  </a:lnTo>
                  <a:lnTo>
                    <a:pt x="f68" y="f69"/>
                  </a:lnTo>
                  <a:lnTo>
                    <a:pt x="f64" y="f70"/>
                  </a:lnTo>
                  <a:lnTo>
                    <a:pt x="f5" y="f71"/>
                  </a:lnTo>
                  <a:lnTo>
                    <a:pt x="f5" y="f18"/>
                  </a:lnTo>
                  <a:lnTo>
                    <a:pt x="f64" y="f72"/>
                  </a:lnTo>
                  <a:lnTo>
                    <a:pt x="f63" y="f73"/>
                  </a:lnTo>
                  <a:lnTo>
                    <a:pt x="f68" y="f74"/>
                  </a:lnTo>
                  <a:lnTo>
                    <a:pt x="f63" y="f75"/>
                  </a:lnTo>
                  <a:lnTo>
                    <a:pt x="f61" y="f76"/>
                  </a:lnTo>
                  <a:lnTo>
                    <a:pt x="f10" y="f76"/>
                  </a:lnTo>
                  <a:lnTo>
                    <a:pt x="f77" y="f12"/>
                  </a:lnTo>
                  <a:lnTo>
                    <a:pt x="f78" y="f79"/>
                  </a:lnTo>
                  <a:lnTo>
                    <a:pt x="f59" y="f80"/>
                  </a:lnTo>
                  <a:lnTo>
                    <a:pt x="f81" y="f82"/>
                  </a:lnTo>
                  <a:lnTo>
                    <a:pt x="f83" y="f84"/>
                  </a:lnTo>
                  <a:lnTo>
                    <a:pt x="f85" y="f86"/>
                  </a:lnTo>
                  <a:lnTo>
                    <a:pt x="f71" y="f87"/>
                  </a:lnTo>
                  <a:lnTo>
                    <a:pt x="f88" y="f89"/>
                  </a:lnTo>
                  <a:lnTo>
                    <a:pt x="f8" y="f5"/>
                  </a:lnTo>
                  <a:close/>
                </a:path>
              </a:pathLst>
            </a:custGeom>
            <a:solidFill>
              <a:srgbClr val="D9D9D9"/>
            </a:solidFill>
            <a:ln w="6345" cap="flat">
              <a:solidFill>
                <a:srgbClr val="A6A6A6"/>
              </a:solidFill>
              <a:prstDash val="solid"/>
              <a:round/>
            </a:ln>
          </p:spPr>
          <p:txBody>
            <a:bodyPr vert="horz" wrap="square" lIns="68580" tIns="34290" rIns="68580" bIns="3429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290" rtl="0" fontAlgn="auto" hangingPunct="1">
                <a:lnSpc>
                  <a:spcPct val="100000"/>
                </a:lnSpc>
                <a:spcBef>
                  <a:spcPts val="50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000" b="0" i="0" u="none" strike="noStrike" kern="0" cap="none" spc="0" baseline="0">
                <a:solidFill>
                  <a:srgbClr val="133B9C"/>
                </a:solidFill>
                <a:highlight>
                  <a:srgbClr val="008556"/>
                </a:highlight>
                <a:uFillTx/>
                <a:latin typeface="Arial"/>
              </a:endParaRPr>
            </a:p>
          </p:txBody>
        </p:sp>
        <p:sp>
          <p:nvSpPr>
            <p:cNvPr id="19" name="Freeform 159">
              <a:extLst>
                <a:ext uri="{FF2B5EF4-FFF2-40B4-BE49-F238E27FC236}">
                  <a16:creationId xmlns:a16="http://schemas.microsoft.com/office/drawing/2014/main" id="{33FA95A6-BB9B-6232-5B16-AFED2314CEBA}"/>
                </a:ext>
              </a:extLst>
            </p:cNvPr>
            <p:cNvSpPr/>
            <p:nvPr/>
          </p:nvSpPr>
          <p:spPr>
            <a:xfrm>
              <a:off x="4899263" y="2207526"/>
              <a:ext cx="245068" cy="252996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62"/>
                <a:gd name="f7" fmla="val 302"/>
                <a:gd name="f8" fmla="val 255"/>
                <a:gd name="f9" fmla="val 258"/>
                <a:gd name="f10" fmla="val 239"/>
                <a:gd name="f11" fmla="val 254"/>
                <a:gd name="f12" fmla="val 203"/>
                <a:gd name="f13" fmla="val 251"/>
                <a:gd name="f14" fmla="val 172"/>
                <a:gd name="f15" fmla="val 240"/>
                <a:gd name="f16" fmla="val 136"/>
                <a:gd name="f17" fmla="val 231"/>
                <a:gd name="f18" fmla="val 121"/>
                <a:gd name="f19" fmla="val 213"/>
                <a:gd name="f20" fmla="val 98"/>
                <a:gd name="f21" fmla="val 193"/>
                <a:gd name="f22" fmla="val 89"/>
                <a:gd name="f23" fmla="val 171"/>
                <a:gd name="f24" fmla="val 69"/>
                <a:gd name="f25" fmla="val 148"/>
                <a:gd name="f26" fmla="val 49"/>
                <a:gd name="f27" fmla="val 126"/>
                <a:gd name="f28" fmla="val 27"/>
                <a:gd name="f29" fmla="val 109"/>
                <a:gd name="f30" fmla="val 9"/>
                <a:gd name="f31" fmla="val 96"/>
                <a:gd name="f32" fmla="val 99"/>
                <a:gd name="f33" fmla="val 15"/>
                <a:gd name="f34" fmla="val 90"/>
                <a:gd name="f35" fmla="val 81"/>
                <a:gd name="f36" fmla="val 31"/>
                <a:gd name="f37" fmla="val 72"/>
                <a:gd name="f38" fmla="val 60"/>
                <a:gd name="f39" fmla="val 16"/>
                <a:gd name="f40" fmla="val 54"/>
                <a:gd name="f41" fmla="val 41"/>
                <a:gd name="f42" fmla="val 29"/>
                <a:gd name="f43" fmla="val 20"/>
                <a:gd name="f44" fmla="val 12"/>
                <a:gd name="f45" fmla="val 24"/>
                <a:gd name="f46" fmla="val 40"/>
                <a:gd name="f47" fmla="val 42"/>
                <a:gd name="f48" fmla="val 58"/>
                <a:gd name="f49" fmla="val 32"/>
                <a:gd name="f50" fmla="val 56"/>
                <a:gd name="f51" fmla="val 34"/>
                <a:gd name="f52" fmla="val 64"/>
                <a:gd name="f53" fmla="val 71"/>
                <a:gd name="f54" fmla="val 21"/>
                <a:gd name="f55" fmla="val 74"/>
                <a:gd name="f56" fmla="val 94"/>
                <a:gd name="f57" fmla="val 103"/>
                <a:gd name="f58" fmla="val 36"/>
                <a:gd name="f59" fmla="val 107"/>
                <a:gd name="f60" fmla="val 128"/>
                <a:gd name="f61" fmla="val 66"/>
                <a:gd name="f62" fmla="val 138"/>
                <a:gd name="f63" fmla="val 76"/>
                <a:gd name="f64" fmla="val 151"/>
                <a:gd name="f65" fmla="val 110"/>
                <a:gd name="f66" fmla="val 163"/>
                <a:gd name="f67" fmla="val 188"/>
                <a:gd name="f68" fmla="val 114"/>
                <a:gd name="f69" fmla="val 205"/>
                <a:gd name="f70" fmla="val 116"/>
                <a:gd name="f71" fmla="val 230"/>
                <a:gd name="f72" fmla="val 119"/>
                <a:gd name="f73" fmla="val 243"/>
                <a:gd name="f74" fmla="val 250"/>
                <a:gd name="f75" fmla="val 139"/>
                <a:gd name="f76" fmla="val 159"/>
                <a:gd name="f77" fmla="val 270"/>
                <a:gd name="f78" fmla="val 168"/>
                <a:gd name="f79" fmla="val 277"/>
                <a:gd name="f80" fmla="val 174"/>
                <a:gd name="f81" fmla="val 286"/>
                <a:gd name="f82" fmla="val 175"/>
                <a:gd name="f83" fmla="val 297"/>
                <a:gd name="f84" fmla="val 181"/>
                <a:gd name="f85" fmla="val 183"/>
                <a:gd name="f86" fmla="val 295"/>
                <a:gd name="f87" fmla="val 199"/>
                <a:gd name="f88" fmla="val 215"/>
                <a:gd name="f89" fmla="val 282"/>
                <a:gd name="f90" fmla="val 226"/>
                <a:gd name="f91" fmla="val 272"/>
                <a:gd name="f92" fmla="+- 0 0 -90"/>
                <a:gd name="f93" fmla="*/ f3 1 262"/>
                <a:gd name="f94" fmla="*/ f4 1 302"/>
                <a:gd name="f95" fmla="+- f7 0 f5"/>
                <a:gd name="f96" fmla="+- f6 0 f5"/>
                <a:gd name="f97" fmla="*/ f92 f0 1"/>
                <a:gd name="f98" fmla="*/ f96 1 262"/>
                <a:gd name="f99" fmla="*/ f95 1 302"/>
                <a:gd name="f100" fmla="*/ f97 1 f2"/>
                <a:gd name="f101" fmla="*/ 262 1 f98"/>
                <a:gd name="f102" fmla="*/ 255 1 f99"/>
                <a:gd name="f103" fmla="*/ 258 1 f98"/>
                <a:gd name="f104" fmla="*/ 239 1 f99"/>
                <a:gd name="f105" fmla="*/ 254 1 f98"/>
                <a:gd name="f106" fmla="*/ 203 1 f99"/>
                <a:gd name="f107" fmla="*/ 251 1 f98"/>
                <a:gd name="f108" fmla="*/ 172 1 f99"/>
                <a:gd name="f109" fmla="*/ 240 1 f98"/>
                <a:gd name="f110" fmla="*/ 136 1 f99"/>
                <a:gd name="f111" fmla="*/ 231 1 f98"/>
                <a:gd name="f112" fmla="*/ 121 1 f99"/>
                <a:gd name="f113" fmla="*/ 213 1 f98"/>
                <a:gd name="f114" fmla="*/ 98 1 f99"/>
                <a:gd name="f115" fmla="*/ 193 1 f98"/>
                <a:gd name="f116" fmla="*/ 89 1 f99"/>
                <a:gd name="f117" fmla="*/ 171 1 f98"/>
                <a:gd name="f118" fmla="*/ 69 1 f99"/>
                <a:gd name="f119" fmla="*/ 148 1 f98"/>
                <a:gd name="f120" fmla="*/ 49 1 f99"/>
                <a:gd name="f121" fmla="*/ 126 1 f98"/>
                <a:gd name="f122" fmla="*/ 27 1 f99"/>
                <a:gd name="f123" fmla="*/ 109 1 f98"/>
                <a:gd name="f124" fmla="*/ 9 1 f99"/>
                <a:gd name="f125" fmla="*/ 96 1 f98"/>
                <a:gd name="f126" fmla="*/ 0 1 f99"/>
                <a:gd name="f127" fmla="*/ 99 1 f98"/>
                <a:gd name="f128" fmla="*/ 15 1 f99"/>
                <a:gd name="f129" fmla="*/ 90 1 f98"/>
                <a:gd name="f130" fmla="*/ 81 1 f98"/>
                <a:gd name="f131" fmla="*/ 31 1 f99"/>
                <a:gd name="f132" fmla="*/ 72 1 f98"/>
                <a:gd name="f133" fmla="*/ 60 1 f98"/>
                <a:gd name="f134" fmla="*/ 16 1 f99"/>
                <a:gd name="f135" fmla="*/ 54 1 f98"/>
                <a:gd name="f136" fmla="*/ 41 1 f98"/>
                <a:gd name="f137" fmla="*/ 29 1 f98"/>
                <a:gd name="f138" fmla="*/ 20 1 f99"/>
                <a:gd name="f139" fmla="*/ 16 1 f98"/>
                <a:gd name="f140" fmla="*/ 12 1 f98"/>
                <a:gd name="f141" fmla="*/ 24 1 f99"/>
                <a:gd name="f142" fmla="*/ 40 1 f99"/>
                <a:gd name="f143" fmla="*/ 0 1 f98"/>
                <a:gd name="f144" fmla="*/ 42 1 f99"/>
                <a:gd name="f145" fmla="*/ 9 1 f98"/>
                <a:gd name="f146" fmla="*/ 58 1 f99"/>
                <a:gd name="f147" fmla="*/ 20 1 f98"/>
                <a:gd name="f148" fmla="*/ 54 1 f99"/>
                <a:gd name="f149" fmla="*/ 32 1 f98"/>
                <a:gd name="f150" fmla="*/ 56 1 f99"/>
                <a:gd name="f151" fmla="*/ 34 1 f98"/>
                <a:gd name="f152" fmla="*/ 64 1 f99"/>
                <a:gd name="f153" fmla="*/ 71 1 f99"/>
                <a:gd name="f154" fmla="*/ 21 1 f98"/>
                <a:gd name="f155" fmla="*/ 74 1 f99"/>
                <a:gd name="f156" fmla="*/ 81 1 f99"/>
                <a:gd name="f157" fmla="*/ 94 1 f99"/>
                <a:gd name="f158" fmla="*/ 103 1 f99"/>
                <a:gd name="f159" fmla="*/ 36 1 f98"/>
                <a:gd name="f160" fmla="*/ 107 1 f99"/>
                <a:gd name="f161" fmla="*/ 128 1 f99"/>
                <a:gd name="f162" fmla="*/ 66 1 f98"/>
                <a:gd name="f163" fmla="*/ 138 1 f99"/>
                <a:gd name="f164" fmla="*/ 76 1 f98"/>
                <a:gd name="f165" fmla="*/ 151 1 f99"/>
                <a:gd name="f166" fmla="*/ 110 1 f98"/>
                <a:gd name="f167" fmla="*/ 163 1 f99"/>
                <a:gd name="f168" fmla="*/ 188 1 f99"/>
                <a:gd name="f169" fmla="*/ 114 1 f98"/>
                <a:gd name="f170" fmla="*/ 205 1 f99"/>
                <a:gd name="f171" fmla="*/ 116 1 f98"/>
                <a:gd name="f172" fmla="*/ 230 1 f99"/>
                <a:gd name="f173" fmla="*/ 119 1 f98"/>
                <a:gd name="f174" fmla="*/ 243 1 f99"/>
                <a:gd name="f175" fmla="*/ 250 1 f99"/>
                <a:gd name="f176" fmla="*/ 139 1 f98"/>
                <a:gd name="f177" fmla="*/ 159 1 f98"/>
                <a:gd name="f178" fmla="*/ 270 1 f99"/>
                <a:gd name="f179" fmla="*/ 168 1 f98"/>
                <a:gd name="f180" fmla="*/ 277 1 f99"/>
                <a:gd name="f181" fmla="*/ 174 1 f98"/>
                <a:gd name="f182" fmla="*/ 286 1 f99"/>
                <a:gd name="f183" fmla="*/ 175 1 f98"/>
                <a:gd name="f184" fmla="*/ 297 1 f99"/>
                <a:gd name="f185" fmla="*/ 181 1 f98"/>
                <a:gd name="f186" fmla="*/ 302 1 f99"/>
                <a:gd name="f187" fmla="*/ 183 1 f98"/>
                <a:gd name="f188" fmla="*/ 295 1 f99"/>
                <a:gd name="f189" fmla="*/ 199 1 f98"/>
                <a:gd name="f190" fmla="*/ 215 1 f98"/>
                <a:gd name="f191" fmla="*/ 282 1 f99"/>
                <a:gd name="f192" fmla="*/ 226 1 f98"/>
                <a:gd name="f193" fmla="*/ 272 1 f99"/>
                <a:gd name="f194" fmla="*/ f6 1 f98"/>
                <a:gd name="f195" fmla="*/ f7 1 f99"/>
                <a:gd name="f196" fmla="+- f100 0 f1"/>
                <a:gd name="f197" fmla="*/ f143 f93 1"/>
                <a:gd name="f198" fmla="*/ f194 f93 1"/>
                <a:gd name="f199" fmla="*/ f195 f94 1"/>
                <a:gd name="f200" fmla="*/ f126 f94 1"/>
                <a:gd name="f201" fmla="*/ f101 f93 1"/>
                <a:gd name="f202" fmla="*/ f102 f94 1"/>
                <a:gd name="f203" fmla="*/ f103 f93 1"/>
                <a:gd name="f204" fmla="*/ f104 f94 1"/>
                <a:gd name="f205" fmla="*/ f105 f93 1"/>
                <a:gd name="f206" fmla="*/ f106 f94 1"/>
                <a:gd name="f207" fmla="*/ f107 f93 1"/>
                <a:gd name="f208" fmla="*/ f108 f94 1"/>
                <a:gd name="f209" fmla="*/ f109 f93 1"/>
                <a:gd name="f210" fmla="*/ f110 f94 1"/>
                <a:gd name="f211" fmla="*/ f111 f93 1"/>
                <a:gd name="f212" fmla="*/ f112 f94 1"/>
                <a:gd name="f213" fmla="*/ f113 f93 1"/>
                <a:gd name="f214" fmla="*/ f114 f94 1"/>
                <a:gd name="f215" fmla="*/ f115 f93 1"/>
                <a:gd name="f216" fmla="*/ f116 f94 1"/>
                <a:gd name="f217" fmla="*/ f117 f93 1"/>
                <a:gd name="f218" fmla="*/ f118 f94 1"/>
                <a:gd name="f219" fmla="*/ f119 f93 1"/>
                <a:gd name="f220" fmla="*/ f120 f94 1"/>
                <a:gd name="f221" fmla="*/ f121 f93 1"/>
                <a:gd name="f222" fmla="*/ f122 f94 1"/>
                <a:gd name="f223" fmla="*/ f123 f93 1"/>
                <a:gd name="f224" fmla="*/ f124 f94 1"/>
                <a:gd name="f225" fmla="*/ f125 f93 1"/>
                <a:gd name="f226" fmla="*/ f127 f93 1"/>
                <a:gd name="f227" fmla="*/ f128 f94 1"/>
                <a:gd name="f228" fmla="*/ f129 f93 1"/>
                <a:gd name="f229" fmla="*/ f130 f93 1"/>
                <a:gd name="f230" fmla="*/ f131 f94 1"/>
                <a:gd name="f231" fmla="*/ f132 f93 1"/>
                <a:gd name="f232" fmla="*/ f133 f93 1"/>
                <a:gd name="f233" fmla="*/ f134 f94 1"/>
                <a:gd name="f234" fmla="*/ f135 f93 1"/>
                <a:gd name="f235" fmla="*/ f136 f93 1"/>
                <a:gd name="f236" fmla="*/ f137 f93 1"/>
                <a:gd name="f237" fmla="*/ f138 f94 1"/>
                <a:gd name="f238" fmla="*/ f139 f93 1"/>
                <a:gd name="f239" fmla="*/ f140 f93 1"/>
                <a:gd name="f240" fmla="*/ f141 f94 1"/>
                <a:gd name="f241" fmla="*/ f142 f94 1"/>
                <a:gd name="f242" fmla="*/ f144 f94 1"/>
                <a:gd name="f243" fmla="*/ f145 f93 1"/>
                <a:gd name="f244" fmla="*/ f146 f94 1"/>
                <a:gd name="f245" fmla="*/ f147 f93 1"/>
                <a:gd name="f246" fmla="*/ f148 f94 1"/>
                <a:gd name="f247" fmla="*/ f149 f93 1"/>
                <a:gd name="f248" fmla="*/ f150 f94 1"/>
                <a:gd name="f249" fmla="*/ f151 f93 1"/>
                <a:gd name="f250" fmla="*/ f152 f94 1"/>
                <a:gd name="f251" fmla="*/ f153 f94 1"/>
                <a:gd name="f252" fmla="*/ f154 f93 1"/>
                <a:gd name="f253" fmla="*/ f155 f94 1"/>
                <a:gd name="f254" fmla="*/ f156 f94 1"/>
                <a:gd name="f255" fmla="*/ f157 f94 1"/>
                <a:gd name="f256" fmla="*/ f158 f94 1"/>
                <a:gd name="f257" fmla="*/ f159 f93 1"/>
                <a:gd name="f258" fmla="*/ f160 f94 1"/>
                <a:gd name="f259" fmla="*/ f161 f94 1"/>
                <a:gd name="f260" fmla="*/ f162 f93 1"/>
                <a:gd name="f261" fmla="*/ f163 f94 1"/>
                <a:gd name="f262" fmla="*/ f164 f93 1"/>
                <a:gd name="f263" fmla="*/ f165 f94 1"/>
                <a:gd name="f264" fmla="*/ f166 f93 1"/>
                <a:gd name="f265" fmla="*/ f167 f94 1"/>
                <a:gd name="f266" fmla="*/ f168 f94 1"/>
                <a:gd name="f267" fmla="*/ f169 f93 1"/>
                <a:gd name="f268" fmla="*/ f170 f94 1"/>
                <a:gd name="f269" fmla="*/ f171 f93 1"/>
                <a:gd name="f270" fmla="*/ f172 f94 1"/>
                <a:gd name="f271" fmla="*/ f173 f93 1"/>
                <a:gd name="f272" fmla="*/ f174 f94 1"/>
                <a:gd name="f273" fmla="*/ f175 f94 1"/>
                <a:gd name="f274" fmla="*/ f176 f93 1"/>
                <a:gd name="f275" fmla="*/ f177 f93 1"/>
                <a:gd name="f276" fmla="*/ f178 f94 1"/>
                <a:gd name="f277" fmla="*/ f179 f93 1"/>
                <a:gd name="f278" fmla="*/ f180 f94 1"/>
                <a:gd name="f279" fmla="*/ f181 f93 1"/>
                <a:gd name="f280" fmla="*/ f182 f94 1"/>
                <a:gd name="f281" fmla="*/ f183 f93 1"/>
                <a:gd name="f282" fmla="*/ f184 f94 1"/>
                <a:gd name="f283" fmla="*/ f185 f93 1"/>
                <a:gd name="f284" fmla="*/ f186 f94 1"/>
                <a:gd name="f285" fmla="*/ f187 f93 1"/>
                <a:gd name="f286" fmla="*/ f188 f94 1"/>
                <a:gd name="f287" fmla="*/ f189 f93 1"/>
                <a:gd name="f288" fmla="*/ f190 f93 1"/>
                <a:gd name="f289" fmla="*/ f191 f94 1"/>
                <a:gd name="f290" fmla="*/ f192 f93 1"/>
                <a:gd name="f291" fmla="*/ f193 f9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96">
                  <a:pos x="f201" y="f202"/>
                </a:cxn>
                <a:cxn ang="f196">
                  <a:pos x="f203" y="f204"/>
                </a:cxn>
                <a:cxn ang="f196">
                  <a:pos x="f205" y="f206"/>
                </a:cxn>
                <a:cxn ang="f196">
                  <a:pos x="f207" y="f208"/>
                </a:cxn>
                <a:cxn ang="f196">
                  <a:pos x="f209" y="f210"/>
                </a:cxn>
                <a:cxn ang="f196">
                  <a:pos x="f211" y="f212"/>
                </a:cxn>
                <a:cxn ang="f196">
                  <a:pos x="f213" y="f214"/>
                </a:cxn>
                <a:cxn ang="f196">
                  <a:pos x="f215" y="f216"/>
                </a:cxn>
                <a:cxn ang="f196">
                  <a:pos x="f217" y="f218"/>
                </a:cxn>
                <a:cxn ang="f196">
                  <a:pos x="f219" y="f220"/>
                </a:cxn>
                <a:cxn ang="f196">
                  <a:pos x="f221" y="f222"/>
                </a:cxn>
                <a:cxn ang="f196">
                  <a:pos x="f223" y="f224"/>
                </a:cxn>
                <a:cxn ang="f196">
                  <a:pos x="f225" y="f200"/>
                </a:cxn>
                <a:cxn ang="f196">
                  <a:pos x="f226" y="f227"/>
                </a:cxn>
                <a:cxn ang="f196">
                  <a:pos x="f228" y="f222"/>
                </a:cxn>
                <a:cxn ang="f196">
                  <a:pos x="f229" y="f230"/>
                </a:cxn>
                <a:cxn ang="f196">
                  <a:pos x="f231" y="f222"/>
                </a:cxn>
                <a:cxn ang="f196">
                  <a:pos x="f232" y="f233"/>
                </a:cxn>
                <a:cxn ang="f196">
                  <a:pos x="f234" y="f227"/>
                </a:cxn>
                <a:cxn ang="f196">
                  <a:pos x="f235" y="f227"/>
                </a:cxn>
                <a:cxn ang="f196">
                  <a:pos x="f236" y="f237"/>
                </a:cxn>
                <a:cxn ang="f196">
                  <a:pos x="f238" y="f227"/>
                </a:cxn>
                <a:cxn ang="f196">
                  <a:pos x="f239" y="f240"/>
                </a:cxn>
                <a:cxn ang="f196">
                  <a:pos x="f239" y="f241"/>
                </a:cxn>
                <a:cxn ang="f196">
                  <a:pos x="f197" y="f242"/>
                </a:cxn>
                <a:cxn ang="f196">
                  <a:pos x="f197" y="f220"/>
                </a:cxn>
                <a:cxn ang="f196">
                  <a:pos x="f243" y="f244"/>
                </a:cxn>
                <a:cxn ang="f196">
                  <a:pos x="f245" y="f246"/>
                </a:cxn>
                <a:cxn ang="f196">
                  <a:pos x="f247" y="f248"/>
                </a:cxn>
                <a:cxn ang="f196">
                  <a:pos x="f249" y="f250"/>
                </a:cxn>
                <a:cxn ang="f196">
                  <a:pos x="f247" y="f251"/>
                </a:cxn>
                <a:cxn ang="f196">
                  <a:pos x="f252" y="f253"/>
                </a:cxn>
                <a:cxn ang="f196">
                  <a:pos x="f245" y="f254"/>
                </a:cxn>
                <a:cxn ang="f196">
                  <a:pos x="f245" y="f216"/>
                </a:cxn>
                <a:cxn ang="f196">
                  <a:pos x="f252" y="f255"/>
                </a:cxn>
                <a:cxn ang="f196">
                  <a:pos x="f252" y="f256"/>
                </a:cxn>
                <a:cxn ang="f196">
                  <a:pos x="f257" y="f258"/>
                </a:cxn>
                <a:cxn ang="f196">
                  <a:pos x="f235" y="f258"/>
                </a:cxn>
                <a:cxn ang="f196">
                  <a:pos x="f232" y="f259"/>
                </a:cxn>
                <a:cxn ang="f196">
                  <a:pos x="f260" y="f261"/>
                </a:cxn>
                <a:cxn ang="f196">
                  <a:pos x="f262" y="f210"/>
                </a:cxn>
                <a:cxn ang="f196">
                  <a:pos x="f225" y="f263"/>
                </a:cxn>
                <a:cxn ang="f196">
                  <a:pos x="f264" y="f265"/>
                </a:cxn>
                <a:cxn ang="f196">
                  <a:pos x="f264" y="f266"/>
                </a:cxn>
                <a:cxn ang="f196">
                  <a:pos x="f267" y="f268"/>
                </a:cxn>
                <a:cxn ang="f196">
                  <a:pos x="f269" y="f270"/>
                </a:cxn>
                <a:cxn ang="f196">
                  <a:pos x="f271" y="f272"/>
                </a:cxn>
                <a:cxn ang="f196">
                  <a:pos x="f221" y="f273"/>
                </a:cxn>
                <a:cxn ang="f196">
                  <a:pos x="f274" y="f202"/>
                </a:cxn>
                <a:cxn ang="f196">
                  <a:pos x="f275" y="f276"/>
                </a:cxn>
                <a:cxn ang="f196">
                  <a:pos x="f277" y="f278"/>
                </a:cxn>
                <a:cxn ang="f196">
                  <a:pos x="f279" y="f280"/>
                </a:cxn>
                <a:cxn ang="f196">
                  <a:pos x="f281" y="f282"/>
                </a:cxn>
                <a:cxn ang="f196">
                  <a:pos x="f283" y="f284"/>
                </a:cxn>
                <a:cxn ang="f196">
                  <a:pos x="f285" y="f286"/>
                </a:cxn>
                <a:cxn ang="f196">
                  <a:pos x="f287" y="f278"/>
                </a:cxn>
                <a:cxn ang="f196">
                  <a:pos x="f288" y="f289"/>
                </a:cxn>
                <a:cxn ang="f196">
                  <a:pos x="f290" y="f276"/>
                </a:cxn>
                <a:cxn ang="f196">
                  <a:pos x="f209" y="f291"/>
                </a:cxn>
                <a:cxn ang="f196">
                  <a:pos x="f201" y="f202"/>
                </a:cxn>
              </a:cxnLst>
              <a:rect l="f197" t="f200" r="f198" b="f199"/>
              <a:pathLst>
                <a:path w="262" h="302">
                  <a:moveTo>
                    <a:pt x="f6" y="f8"/>
                  </a:move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6"/>
                  </a:lnTo>
                  <a:lnTo>
                    <a:pt x="f27" y="f28"/>
                  </a:lnTo>
                  <a:lnTo>
                    <a:pt x="f29" y="f30"/>
                  </a:lnTo>
                  <a:lnTo>
                    <a:pt x="f31" y="f5"/>
                  </a:lnTo>
                  <a:lnTo>
                    <a:pt x="f32" y="f33"/>
                  </a:lnTo>
                  <a:lnTo>
                    <a:pt x="f34" y="f28"/>
                  </a:lnTo>
                  <a:lnTo>
                    <a:pt x="f35" y="f36"/>
                  </a:lnTo>
                  <a:lnTo>
                    <a:pt x="f37" y="f28"/>
                  </a:lnTo>
                  <a:lnTo>
                    <a:pt x="f38" y="f39"/>
                  </a:lnTo>
                  <a:lnTo>
                    <a:pt x="f40" y="f33"/>
                  </a:lnTo>
                  <a:lnTo>
                    <a:pt x="f41" y="f33"/>
                  </a:lnTo>
                  <a:lnTo>
                    <a:pt x="f42" y="f43"/>
                  </a:lnTo>
                  <a:lnTo>
                    <a:pt x="f39" y="f33"/>
                  </a:lnTo>
                  <a:lnTo>
                    <a:pt x="f44" y="f45"/>
                  </a:lnTo>
                  <a:lnTo>
                    <a:pt x="f44" y="f46"/>
                  </a:lnTo>
                  <a:lnTo>
                    <a:pt x="f5" y="f47"/>
                  </a:lnTo>
                  <a:lnTo>
                    <a:pt x="f5" y="f26"/>
                  </a:lnTo>
                  <a:lnTo>
                    <a:pt x="f30" y="f48"/>
                  </a:lnTo>
                  <a:lnTo>
                    <a:pt x="f43" y="f40"/>
                  </a:lnTo>
                  <a:lnTo>
                    <a:pt x="f49" y="f50"/>
                  </a:lnTo>
                  <a:lnTo>
                    <a:pt x="f51" y="f52"/>
                  </a:lnTo>
                  <a:lnTo>
                    <a:pt x="f49" y="f53"/>
                  </a:lnTo>
                  <a:lnTo>
                    <a:pt x="f54" y="f55"/>
                  </a:lnTo>
                  <a:lnTo>
                    <a:pt x="f43" y="f35"/>
                  </a:lnTo>
                  <a:lnTo>
                    <a:pt x="f43" y="f22"/>
                  </a:lnTo>
                  <a:lnTo>
                    <a:pt x="f54" y="f56"/>
                  </a:lnTo>
                  <a:lnTo>
                    <a:pt x="f54" y="f57"/>
                  </a:lnTo>
                  <a:lnTo>
                    <a:pt x="f58" y="f59"/>
                  </a:lnTo>
                  <a:lnTo>
                    <a:pt x="f41" y="f59"/>
                  </a:lnTo>
                  <a:lnTo>
                    <a:pt x="f38" y="f60"/>
                  </a:lnTo>
                  <a:lnTo>
                    <a:pt x="f61" y="f62"/>
                  </a:lnTo>
                  <a:lnTo>
                    <a:pt x="f63" y="f16"/>
                  </a:lnTo>
                  <a:lnTo>
                    <a:pt x="f31" y="f64"/>
                  </a:lnTo>
                  <a:lnTo>
                    <a:pt x="f65" y="f66"/>
                  </a:lnTo>
                  <a:lnTo>
                    <a:pt x="f65" y="f67"/>
                  </a:lnTo>
                  <a:lnTo>
                    <a:pt x="f68" y="f69"/>
                  </a:lnTo>
                  <a:lnTo>
                    <a:pt x="f70" y="f71"/>
                  </a:lnTo>
                  <a:lnTo>
                    <a:pt x="f72" y="f73"/>
                  </a:lnTo>
                  <a:lnTo>
                    <a:pt x="f27" y="f74"/>
                  </a:lnTo>
                  <a:lnTo>
                    <a:pt x="f75" y="f8"/>
                  </a:lnTo>
                  <a:lnTo>
                    <a:pt x="f76" y="f77"/>
                  </a:lnTo>
                  <a:lnTo>
                    <a:pt x="f78" y="f79"/>
                  </a:lnTo>
                  <a:lnTo>
                    <a:pt x="f80" y="f81"/>
                  </a:lnTo>
                  <a:lnTo>
                    <a:pt x="f82" y="f83"/>
                  </a:lnTo>
                  <a:lnTo>
                    <a:pt x="f84" y="f7"/>
                  </a:lnTo>
                  <a:lnTo>
                    <a:pt x="f85" y="f86"/>
                  </a:lnTo>
                  <a:lnTo>
                    <a:pt x="f87" y="f79"/>
                  </a:lnTo>
                  <a:lnTo>
                    <a:pt x="f88" y="f89"/>
                  </a:lnTo>
                  <a:lnTo>
                    <a:pt x="f90" y="f77"/>
                  </a:lnTo>
                  <a:lnTo>
                    <a:pt x="f15" y="f91"/>
                  </a:lnTo>
                  <a:lnTo>
                    <a:pt x="f6" y="f8"/>
                  </a:lnTo>
                  <a:close/>
                </a:path>
              </a:pathLst>
            </a:custGeom>
            <a:solidFill>
              <a:srgbClr val="D9D9D9"/>
            </a:solidFill>
            <a:ln w="6345" cap="flat">
              <a:solidFill>
                <a:srgbClr val="A6A6A6"/>
              </a:solidFill>
              <a:prstDash val="solid"/>
              <a:round/>
            </a:ln>
          </p:spPr>
          <p:txBody>
            <a:bodyPr vert="horz" wrap="square" lIns="68580" tIns="34290" rIns="68580" bIns="3429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290" rtl="0" fontAlgn="auto" hangingPunct="1">
                <a:lnSpc>
                  <a:spcPct val="100000"/>
                </a:lnSpc>
                <a:spcBef>
                  <a:spcPts val="50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000" b="0" i="0" u="none" strike="noStrike" kern="0" cap="none" spc="0" baseline="0">
                <a:solidFill>
                  <a:srgbClr val="133B9C"/>
                </a:solidFill>
                <a:highlight>
                  <a:srgbClr val="008556"/>
                </a:highlight>
                <a:uFillTx/>
                <a:latin typeface="Arial"/>
              </a:endParaRPr>
            </a:p>
          </p:txBody>
        </p:sp>
        <p:sp>
          <p:nvSpPr>
            <p:cNvPr id="20" name="Freeform 161">
              <a:extLst>
                <a:ext uri="{FF2B5EF4-FFF2-40B4-BE49-F238E27FC236}">
                  <a16:creationId xmlns:a16="http://schemas.microsoft.com/office/drawing/2014/main" id="{1431A132-B779-F8C4-9950-289F3087243B}"/>
                </a:ext>
              </a:extLst>
            </p:cNvPr>
            <p:cNvSpPr/>
            <p:nvPr/>
          </p:nvSpPr>
          <p:spPr>
            <a:xfrm>
              <a:off x="4493297" y="1976311"/>
              <a:ext cx="498567" cy="26724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533"/>
                <a:gd name="f7" fmla="val 319"/>
                <a:gd name="f8" fmla="val 528"/>
                <a:gd name="f9" fmla="val 275"/>
                <a:gd name="f10" fmla="val 511"/>
                <a:gd name="f11" fmla="val 263"/>
                <a:gd name="f12" fmla="val 503"/>
                <a:gd name="f13" fmla="val 250"/>
                <a:gd name="f14" fmla="val 494"/>
                <a:gd name="f15" fmla="val 223"/>
                <a:gd name="f16" fmla="val 488"/>
                <a:gd name="f17" fmla="val 212"/>
                <a:gd name="f18" fmla="val 476"/>
                <a:gd name="f19" fmla="val 192"/>
                <a:gd name="f20" fmla="val 468"/>
                <a:gd name="f21" fmla="val 183"/>
                <a:gd name="f22" fmla="val 171"/>
                <a:gd name="f23" fmla="val 478"/>
                <a:gd name="f24" fmla="val 161"/>
                <a:gd name="f25" fmla="val 145"/>
                <a:gd name="f26" fmla="val 125"/>
                <a:gd name="f27" fmla="val 474"/>
                <a:gd name="f28" fmla="val 114"/>
                <a:gd name="f29" fmla="val 481"/>
                <a:gd name="f30" fmla="val 104"/>
                <a:gd name="f31" fmla="val 94"/>
                <a:gd name="f32" fmla="val 461"/>
                <a:gd name="f33" fmla="val 74"/>
                <a:gd name="f34" fmla="val 448"/>
                <a:gd name="f35" fmla="val 71"/>
                <a:gd name="f36" fmla="val 431"/>
                <a:gd name="f37" fmla="val 65"/>
                <a:gd name="f38" fmla="val 422"/>
                <a:gd name="f39" fmla="val 414"/>
                <a:gd name="f40" fmla="val 78"/>
                <a:gd name="f41" fmla="val 403"/>
                <a:gd name="f42" fmla="val 81"/>
                <a:gd name="f43" fmla="val 394"/>
                <a:gd name="f44" fmla="val 76"/>
                <a:gd name="f45" fmla="val 364"/>
                <a:gd name="f46" fmla="val 347"/>
                <a:gd name="f47" fmla="val 69"/>
                <a:gd name="f48" fmla="val 335"/>
                <a:gd name="f49" fmla="val 64"/>
                <a:gd name="f50" fmla="val 324"/>
                <a:gd name="f51" fmla="val 54"/>
                <a:gd name="f52" fmla="val 311"/>
                <a:gd name="f53" fmla="val 61"/>
                <a:gd name="f54" fmla="val 290"/>
                <a:gd name="f55" fmla="val 264"/>
                <a:gd name="f56" fmla="val 235"/>
                <a:gd name="f57" fmla="val 47"/>
                <a:gd name="f58" fmla="val 225"/>
                <a:gd name="f59" fmla="val 215"/>
                <a:gd name="f60" fmla="val 56"/>
                <a:gd name="f61" fmla="val 202"/>
                <a:gd name="f62" fmla="val 49"/>
                <a:gd name="f63" fmla="val 197"/>
                <a:gd name="f64" fmla="val 44"/>
                <a:gd name="f65" fmla="val 182"/>
                <a:gd name="f66" fmla="val 167"/>
                <a:gd name="f67" fmla="val 156"/>
                <a:gd name="f68" fmla="val 36"/>
                <a:gd name="f69" fmla="val 136"/>
                <a:gd name="f70" fmla="val 21"/>
                <a:gd name="f71" fmla="val 117"/>
                <a:gd name="f72" fmla="val 7"/>
                <a:gd name="f73" fmla="val 105"/>
                <a:gd name="f74" fmla="val 9"/>
                <a:gd name="f75" fmla="val 91"/>
                <a:gd name="f76" fmla="val 14"/>
                <a:gd name="f77" fmla="val 80"/>
                <a:gd name="f78" fmla="val 70"/>
                <a:gd name="f79" fmla="val 58"/>
                <a:gd name="f80" fmla="val 45"/>
                <a:gd name="f81" fmla="val 11"/>
                <a:gd name="f82" fmla="val 34"/>
                <a:gd name="f83" fmla="val 40"/>
                <a:gd name="f84" fmla="val 28"/>
                <a:gd name="f85" fmla="val 20"/>
                <a:gd name="f86" fmla="val 96"/>
                <a:gd name="f87" fmla="val 10"/>
                <a:gd name="f88" fmla="val 13"/>
                <a:gd name="f89" fmla="val 123"/>
                <a:gd name="f90" fmla="val 25"/>
                <a:gd name="f91" fmla="val 129"/>
                <a:gd name="f92" fmla="val 38"/>
                <a:gd name="f93" fmla="val 148"/>
                <a:gd name="f94" fmla="val 53"/>
                <a:gd name="f95" fmla="val 73"/>
                <a:gd name="f96" fmla="val 163"/>
                <a:gd name="f97" fmla="val 166"/>
                <a:gd name="f98" fmla="val 176"/>
                <a:gd name="f99" fmla="val 82"/>
                <a:gd name="f100" fmla="val 196"/>
                <a:gd name="f101" fmla="val 85"/>
                <a:gd name="f102" fmla="val 208"/>
                <a:gd name="f103" fmla="val 97"/>
                <a:gd name="f104" fmla="val 107"/>
                <a:gd name="f105" fmla="val 210"/>
                <a:gd name="f106" fmla="val 110"/>
                <a:gd name="f107" fmla="val 200"/>
                <a:gd name="f108" fmla="val 190"/>
                <a:gd name="f109" fmla="val 181"/>
                <a:gd name="f110" fmla="val 127"/>
                <a:gd name="f111" fmla="val 132"/>
                <a:gd name="f112" fmla="val 162"/>
                <a:gd name="f113" fmla="val 198"/>
                <a:gd name="f114" fmla="val 185"/>
                <a:gd name="f115" fmla="val 203"/>
                <a:gd name="f116" fmla="val 205"/>
                <a:gd name="f117" fmla="val 237"/>
                <a:gd name="f118" fmla="val 251"/>
                <a:gd name="f119" fmla="val 240"/>
                <a:gd name="f120" fmla="val 259"/>
                <a:gd name="f121" fmla="val 243"/>
                <a:gd name="f122" fmla="val 279"/>
                <a:gd name="f123" fmla="val 304"/>
                <a:gd name="f124" fmla="val 255"/>
                <a:gd name="f125" fmla="val 316"/>
                <a:gd name="f126" fmla="val 258"/>
                <a:gd name="f127" fmla="val 331"/>
                <a:gd name="f128" fmla="val 342"/>
                <a:gd name="f129" fmla="val 349"/>
                <a:gd name="f130" fmla="val 367"/>
                <a:gd name="f131" fmla="val 371"/>
                <a:gd name="f132" fmla="val 252"/>
                <a:gd name="f133" fmla="val 384"/>
                <a:gd name="f134" fmla="val 272"/>
                <a:gd name="f135" fmla="val 287"/>
                <a:gd name="f136" fmla="val 391"/>
                <a:gd name="f137" fmla="val 292"/>
                <a:gd name="f138" fmla="val 409"/>
                <a:gd name="f139" fmla="val 295"/>
                <a:gd name="f140" fmla="val 418"/>
                <a:gd name="f141" fmla="val 427"/>
                <a:gd name="f142" fmla="val 312"/>
                <a:gd name="f143" fmla="val 434"/>
                <a:gd name="f144" fmla="val 443"/>
                <a:gd name="f145" fmla="val 447"/>
                <a:gd name="f146" fmla="val 299"/>
                <a:gd name="f147" fmla="val 450"/>
                <a:gd name="f148" fmla="val 462"/>
                <a:gd name="f149" fmla="val 293"/>
                <a:gd name="f150" fmla="val 486"/>
                <a:gd name="f151" fmla="val 501"/>
                <a:gd name="f152" fmla="val 307"/>
                <a:gd name="f153" fmla="val 519"/>
                <a:gd name="f154" fmla="val 298"/>
                <a:gd name="f155" fmla="+- 0 0 -90"/>
                <a:gd name="f156" fmla="*/ f3 1 533"/>
                <a:gd name="f157" fmla="*/ f4 1 319"/>
                <a:gd name="f158" fmla="+- f7 0 f5"/>
                <a:gd name="f159" fmla="+- f6 0 f5"/>
                <a:gd name="f160" fmla="*/ f155 f0 1"/>
                <a:gd name="f161" fmla="*/ f159 1 533"/>
                <a:gd name="f162" fmla="*/ f158 1 319"/>
                <a:gd name="f163" fmla="*/ f160 1 f2"/>
                <a:gd name="f164" fmla="*/ 511 1 f161"/>
                <a:gd name="f165" fmla="*/ 263 1 f162"/>
                <a:gd name="f166" fmla="*/ 494 1 f161"/>
                <a:gd name="f167" fmla="*/ 223 1 f162"/>
                <a:gd name="f168" fmla="*/ 476 1 f161"/>
                <a:gd name="f169" fmla="*/ 192 1 f162"/>
                <a:gd name="f170" fmla="*/ 468 1 f161"/>
                <a:gd name="f171" fmla="*/ 171 1 f162"/>
                <a:gd name="f172" fmla="*/ 145 1 f162"/>
                <a:gd name="f173" fmla="*/ 474 1 f161"/>
                <a:gd name="f174" fmla="*/ 114 1 f162"/>
                <a:gd name="f175" fmla="*/ 94 1 f162"/>
                <a:gd name="f176" fmla="*/ 448 1 f161"/>
                <a:gd name="f177" fmla="*/ 71 1 f162"/>
                <a:gd name="f178" fmla="*/ 422 1 f161"/>
                <a:gd name="f179" fmla="*/ 403 1 f161"/>
                <a:gd name="f180" fmla="*/ 81 1 f162"/>
                <a:gd name="f181" fmla="*/ 364 1 f161"/>
                <a:gd name="f182" fmla="*/ 76 1 f162"/>
                <a:gd name="f183" fmla="*/ 335 1 f161"/>
                <a:gd name="f184" fmla="*/ 64 1 f162"/>
                <a:gd name="f185" fmla="*/ 311 1 f161"/>
                <a:gd name="f186" fmla="*/ 61 1 f162"/>
                <a:gd name="f187" fmla="*/ 264 1 f161"/>
                <a:gd name="f188" fmla="*/ 235 1 f161"/>
                <a:gd name="f189" fmla="*/ 47 1 f162"/>
                <a:gd name="f190" fmla="*/ 215 1 f161"/>
                <a:gd name="f191" fmla="*/ 56 1 f162"/>
                <a:gd name="f192" fmla="*/ 197 1 f161"/>
                <a:gd name="f193" fmla="*/ 44 1 f162"/>
                <a:gd name="f194" fmla="*/ 167 1 f161"/>
                <a:gd name="f195" fmla="*/ 136 1 f161"/>
                <a:gd name="f196" fmla="*/ 21 1 f162"/>
                <a:gd name="f197" fmla="*/ 105 1 f161"/>
                <a:gd name="f198" fmla="*/ 9 1 f162"/>
                <a:gd name="f199" fmla="*/ 80 1 f161"/>
                <a:gd name="f200" fmla="*/ 7 1 f162"/>
                <a:gd name="f201" fmla="*/ 58 1 f161"/>
                <a:gd name="f202" fmla="*/ 0 1 f162"/>
                <a:gd name="f203" fmla="*/ 45 1 f161"/>
                <a:gd name="f204" fmla="*/ 11 1 f162"/>
                <a:gd name="f205" fmla="*/ 40 1 f161"/>
                <a:gd name="f206" fmla="*/ 28 1 f161"/>
                <a:gd name="f207" fmla="*/ 10 1 f161"/>
                <a:gd name="f208" fmla="*/ 105 1 f162"/>
                <a:gd name="f209" fmla="*/ 13 1 f161"/>
                <a:gd name="f210" fmla="*/ 123 1 f162"/>
                <a:gd name="f211" fmla="*/ 129 1 f162"/>
                <a:gd name="f212" fmla="*/ 53 1 f161"/>
                <a:gd name="f213" fmla="*/ 156 1 f162"/>
                <a:gd name="f214" fmla="*/ 78 1 f161"/>
                <a:gd name="f215" fmla="*/ 166 1 f162"/>
                <a:gd name="f216" fmla="*/ 82 1 f161"/>
                <a:gd name="f217" fmla="*/ 196 1 f162"/>
                <a:gd name="f218" fmla="*/ 97 1 f161"/>
                <a:gd name="f219" fmla="*/ 212 1 f162"/>
                <a:gd name="f220" fmla="*/ 110 1 f161"/>
                <a:gd name="f221" fmla="*/ 200 1 f162"/>
                <a:gd name="f222" fmla="*/ 123 1 f161"/>
                <a:gd name="f223" fmla="*/ 181 1 f162"/>
                <a:gd name="f224" fmla="*/ 132 1 f161"/>
                <a:gd name="f225" fmla="*/ 183 1 f162"/>
                <a:gd name="f226" fmla="*/ 162 1 f161"/>
                <a:gd name="f227" fmla="*/ 198 1 f162"/>
                <a:gd name="f228" fmla="*/ 202 1 f161"/>
                <a:gd name="f229" fmla="*/ 205 1 f162"/>
                <a:gd name="f230" fmla="*/ 237 1 f161"/>
                <a:gd name="f231" fmla="*/ 225 1 f162"/>
                <a:gd name="f232" fmla="*/ 259 1 f161"/>
                <a:gd name="f233" fmla="*/ 243 1 f162"/>
                <a:gd name="f234" fmla="*/ 290 1 f161"/>
                <a:gd name="f235" fmla="*/ 316 1 f161"/>
                <a:gd name="f236" fmla="*/ 258 1 f162"/>
                <a:gd name="f237" fmla="*/ 342 1 f161"/>
                <a:gd name="f238" fmla="*/ 367 1 f161"/>
                <a:gd name="f239" fmla="*/ 384 1 f161"/>
                <a:gd name="f240" fmla="*/ 287 1 f162"/>
                <a:gd name="f241" fmla="*/ 409 1 f161"/>
                <a:gd name="f242" fmla="*/ 295 1 f162"/>
                <a:gd name="f243" fmla="*/ 427 1 f161"/>
                <a:gd name="f244" fmla="*/ 312 1 f162"/>
                <a:gd name="f245" fmla="*/ 443 1 f161"/>
                <a:gd name="f246" fmla="*/ 450 1 f161"/>
                <a:gd name="f247" fmla="*/ 290 1 f162"/>
                <a:gd name="f248" fmla="*/ 501 1 f161"/>
                <a:gd name="f249" fmla="*/ 299 1 f162"/>
                <a:gd name="f250" fmla="*/ 519 1 f161"/>
                <a:gd name="f251" fmla="*/ 307 1 f162"/>
                <a:gd name="f252" fmla="*/ 533 1 f161"/>
                <a:gd name="f253" fmla="*/ 0 1 f161"/>
                <a:gd name="f254" fmla="*/ f6 1 f161"/>
                <a:gd name="f255" fmla="*/ f7 1 f162"/>
                <a:gd name="f256" fmla="+- f163 0 f1"/>
                <a:gd name="f257" fmla="*/ f253 f156 1"/>
                <a:gd name="f258" fmla="*/ f254 f156 1"/>
                <a:gd name="f259" fmla="*/ f255 f157 1"/>
                <a:gd name="f260" fmla="*/ f202 f157 1"/>
                <a:gd name="f261" fmla="*/ f164 f156 1"/>
                <a:gd name="f262" fmla="*/ f165 f157 1"/>
                <a:gd name="f263" fmla="*/ f166 f156 1"/>
                <a:gd name="f264" fmla="*/ f167 f157 1"/>
                <a:gd name="f265" fmla="*/ f168 f156 1"/>
                <a:gd name="f266" fmla="*/ f169 f157 1"/>
                <a:gd name="f267" fmla="*/ f170 f156 1"/>
                <a:gd name="f268" fmla="*/ f171 f157 1"/>
                <a:gd name="f269" fmla="*/ f172 f157 1"/>
                <a:gd name="f270" fmla="*/ f173 f156 1"/>
                <a:gd name="f271" fmla="*/ f174 f157 1"/>
                <a:gd name="f272" fmla="*/ f175 f157 1"/>
                <a:gd name="f273" fmla="*/ f176 f156 1"/>
                <a:gd name="f274" fmla="*/ f177 f157 1"/>
                <a:gd name="f275" fmla="*/ f178 f156 1"/>
                <a:gd name="f276" fmla="*/ f179 f156 1"/>
                <a:gd name="f277" fmla="*/ f180 f157 1"/>
                <a:gd name="f278" fmla="*/ f181 f156 1"/>
                <a:gd name="f279" fmla="*/ f182 f157 1"/>
                <a:gd name="f280" fmla="*/ f183 f156 1"/>
                <a:gd name="f281" fmla="*/ f184 f157 1"/>
                <a:gd name="f282" fmla="*/ f185 f156 1"/>
                <a:gd name="f283" fmla="*/ f186 f157 1"/>
                <a:gd name="f284" fmla="*/ f187 f156 1"/>
                <a:gd name="f285" fmla="*/ f188 f156 1"/>
                <a:gd name="f286" fmla="*/ f189 f157 1"/>
                <a:gd name="f287" fmla="*/ f190 f156 1"/>
                <a:gd name="f288" fmla="*/ f191 f157 1"/>
                <a:gd name="f289" fmla="*/ f192 f156 1"/>
                <a:gd name="f290" fmla="*/ f193 f157 1"/>
                <a:gd name="f291" fmla="*/ f194 f156 1"/>
                <a:gd name="f292" fmla="*/ f195 f156 1"/>
                <a:gd name="f293" fmla="*/ f196 f157 1"/>
                <a:gd name="f294" fmla="*/ f197 f156 1"/>
                <a:gd name="f295" fmla="*/ f198 f157 1"/>
                <a:gd name="f296" fmla="*/ f199 f156 1"/>
                <a:gd name="f297" fmla="*/ f200 f157 1"/>
                <a:gd name="f298" fmla="*/ f201 f156 1"/>
                <a:gd name="f299" fmla="*/ f203 f156 1"/>
                <a:gd name="f300" fmla="*/ f204 f157 1"/>
                <a:gd name="f301" fmla="*/ f205 f156 1"/>
                <a:gd name="f302" fmla="*/ f206 f156 1"/>
                <a:gd name="f303" fmla="*/ f207 f156 1"/>
                <a:gd name="f304" fmla="*/ f208 f157 1"/>
                <a:gd name="f305" fmla="*/ f209 f156 1"/>
                <a:gd name="f306" fmla="*/ f210 f157 1"/>
                <a:gd name="f307" fmla="*/ f211 f157 1"/>
                <a:gd name="f308" fmla="*/ f212 f156 1"/>
                <a:gd name="f309" fmla="*/ f213 f157 1"/>
                <a:gd name="f310" fmla="*/ f214 f156 1"/>
                <a:gd name="f311" fmla="*/ f215 f157 1"/>
                <a:gd name="f312" fmla="*/ f216 f156 1"/>
                <a:gd name="f313" fmla="*/ f217 f157 1"/>
                <a:gd name="f314" fmla="*/ f218 f156 1"/>
                <a:gd name="f315" fmla="*/ f219 f157 1"/>
                <a:gd name="f316" fmla="*/ f220 f156 1"/>
                <a:gd name="f317" fmla="*/ f221 f157 1"/>
                <a:gd name="f318" fmla="*/ f222 f156 1"/>
                <a:gd name="f319" fmla="*/ f223 f157 1"/>
                <a:gd name="f320" fmla="*/ f224 f156 1"/>
                <a:gd name="f321" fmla="*/ f225 f157 1"/>
                <a:gd name="f322" fmla="*/ f226 f156 1"/>
                <a:gd name="f323" fmla="*/ f227 f157 1"/>
                <a:gd name="f324" fmla="*/ f228 f156 1"/>
                <a:gd name="f325" fmla="*/ f229 f157 1"/>
                <a:gd name="f326" fmla="*/ f230 f156 1"/>
                <a:gd name="f327" fmla="*/ f231 f157 1"/>
                <a:gd name="f328" fmla="*/ f232 f156 1"/>
                <a:gd name="f329" fmla="*/ f233 f157 1"/>
                <a:gd name="f330" fmla="*/ f234 f156 1"/>
                <a:gd name="f331" fmla="*/ f235 f156 1"/>
                <a:gd name="f332" fmla="*/ f236 f157 1"/>
                <a:gd name="f333" fmla="*/ f237 f156 1"/>
                <a:gd name="f334" fmla="*/ f238 f156 1"/>
                <a:gd name="f335" fmla="*/ f239 f156 1"/>
                <a:gd name="f336" fmla="*/ f240 f157 1"/>
                <a:gd name="f337" fmla="*/ f241 f156 1"/>
                <a:gd name="f338" fmla="*/ f242 f157 1"/>
                <a:gd name="f339" fmla="*/ f243 f156 1"/>
                <a:gd name="f340" fmla="*/ f244 f157 1"/>
                <a:gd name="f341" fmla="*/ f245 f156 1"/>
                <a:gd name="f342" fmla="*/ f246 f156 1"/>
                <a:gd name="f343" fmla="*/ f247 f157 1"/>
                <a:gd name="f344" fmla="*/ f248 f156 1"/>
                <a:gd name="f345" fmla="*/ f249 f157 1"/>
                <a:gd name="f346" fmla="*/ f250 f156 1"/>
                <a:gd name="f347" fmla="*/ f251 f157 1"/>
                <a:gd name="f348" fmla="*/ f252 f15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56">
                  <a:pos x="f261" y="f262"/>
                </a:cxn>
                <a:cxn ang="f256">
                  <a:pos x="f263" y="f264"/>
                </a:cxn>
                <a:cxn ang="f256">
                  <a:pos x="f265" y="f266"/>
                </a:cxn>
                <a:cxn ang="f256">
                  <a:pos x="f267" y="f268"/>
                </a:cxn>
                <a:cxn ang="f256">
                  <a:pos x="f265" y="f269"/>
                </a:cxn>
                <a:cxn ang="f256">
                  <a:pos x="f270" y="f271"/>
                </a:cxn>
                <a:cxn ang="f256">
                  <a:pos x="f270" y="f272"/>
                </a:cxn>
                <a:cxn ang="f256">
                  <a:pos x="f273" y="f274"/>
                </a:cxn>
                <a:cxn ang="f256">
                  <a:pos x="f275" y="f274"/>
                </a:cxn>
                <a:cxn ang="f256">
                  <a:pos x="f276" y="f277"/>
                </a:cxn>
                <a:cxn ang="f256">
                  <a:pos x="f278" y="f279"/>
                </a:cxn>
                <a:cxn ang="f256">
                  <a:pos x="f280" y="f281"/>
                </a:cxn>
                <a:cxn ang="f256">
                  <a:pos x="f282" y="f283"/>
                </a:cxn>
                <a:cxn ang="f256">
                  <a:pos x="f284" y="f281"/>
                </a:cxn>
                <a:cxn ang="f256">
                  <a:pos x="f285" y="f286"/>
                </a:cxn>
                <a:cxn ang="f256">
                  <a:pos x="f287" y="f288"/>
                </a:cxn>
                <a:cxn ang="f256">
                  <a:pos x="f289" y="f290"/>
                </a:cxn>
                <a:cxn ang="f256">
                  <a:pos x="f291" y="f290"/>
                </a:cxn>
                <a:cxn ang="f256">
                  <a:pos x="f292" y="f293"/>
                </a:cxn>
                <a:cxn ang="f256">
                  <a:pos x="f294" y="f295"/>
                </a:cxn>
                <a:cxn ang="f256">
                  <a:pos x="f296" y="f297"/>
                </a:cxn>
                <a:cxn ang="f256">
                  <a:pos x="f298" y="f260"/>
                </a:cxn>
                <a:cxn ang="f256">
                  <a:pos x="f299" y="f300"/>
                </a:cxn>
                <a:cxn ang="f256">
                  <a:pos x="f301" y="f288"/>
                </a:cxn>
                <a:cxn ang="f256">
                  <a:pos x="f302" y="f277"/>
                </a:cxn>
                <a:cxn ang="f256">
                  <a:pos x="f303" y="f304"/>
                </a:cxn>
                <a:cxn ang="f256">
                  <a:pos x="f305" y="f306"/>
                </a:cxn>
                <a:cxn ang="f256">
                  <a:pos x="f301" y="f307"/>
                </a:cxn>
                <a:cxn ang="f256">
                  <a:pos x="f308" y="f309"/>
                </a:cxn>
                <a:cxn ang="f256">
                  <a:pos x="f310" y="f311"/>
                </a:cxn>
                <a:cxn ang="f256">
                  <a:pos x="f312" y="f313"/>
                </a:cxn>
                <a:cxn ang="f256">
                  <a:pos x="f314" y="f315"/>
                </a:cxn>
                <a:cxn ang="f256">
                  <a:pos x="f316" y="f317"/>
                </a:cxn>
                <a:cxn ang="f256">
                  <a:pos x="f318" y="f319"/>
                </a:cxn>
                <a:cxn ang="f256">
                  <a:pos x="f320" y="f321"/>
                </a:cxn>
                <a:cxn ang="f256">
                  <a:pos x="f322" y="f323"/>
                </a:cxn>
                <a:cxn ang="f256">
                  <a:pos x="f324" y="f325"/>
                </a:cxn>
                <a:cxn ang="f256">
                  <a:pos x="f326" y="f327"/>
                </a:cxn>
                <a:cxn ang="f256">
                  <a:pos x="f328" y="f329"/>
                </a:cxn>
                <a:cxn ang="f256">
                  <a:pos x="f330" y="f329"/>
                </a:cxn>
                <a:cxn ang="f256">
                  <a:pos x="f331" y="f332"/>
                </a:cxn>
                <a:cxn ang="f256">
                  <a:pos x="f333" y="f332"/>
                </a:cxn>
                <a:cxn ang="f256">
                  <a:pos x="f334" y="f332"/>
                </a:cxn>
                <a:cxn ang="f256">
                  <a:pos x="f335" y="f262"/>
                </a:cxn>
                <a:cxn ang="f256">
                  <a:pos x="f335" y="f336"/>
                </a:cxn>
                <a:cxn ang="f256">
                  <a:pos x="f337" y="f338"/>
                </a:cxn>
                <a:cxn ang="f256">
                  <a:pos x="f339" y="f340"/>
                </a:cxn>
                <a:cxn ang="f256">
                  <a:pos x="f341" y="f340"/>
                </a:cxn>
                <a:cxn ang="f256">
                  <a:pos x="f342" y="f343"/>
                </a:cxn>
                <a:cxn ang="f256">
                  <a:pos x="f265" y="f343"/>
                </a:cxn>
                <a:cxn ang="f256">
                  <a:pos x="f344" y="f345"/>
                </a:cxn>
                <a:cxn ang="f256">
                  <a:pos x="f346" y="f347"/>
                </a:cxn>
                <a:cxn ang="f256">
                  <a:pos x="f348" y="f343"/>
                </a:cxn>
              </a:cxnLst>
              <a:rect l="f257" t="f260" r="f258" b="f259"/>
              <a:pathLst>
                <a:path w="533" h="319">
                  <a:moveTo>
                    <a:pt x="f8" y="f9"/>
                  </a:move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0" y="f22"/>
                  </a:lnTo>
                  <a:lnTo>
                    <a:pt x="f23" y="f24"/>
                  </a:lnTo>
                  <a:lnTo>
                    <a:pt x="f18" y="f25"/>
                  </a:lnTo>
                  <a:lnTo>
                    <a:pt x="f18" y="f26"/>
                  </a:lnTo>
                  <a:lnTo>
                    <a:pt x="f27" y="f28"/>
                  </a:lnTo>
                  <a:lnTo>
                    <a:pt x="f29" y="f30"/>
                  </a:lnTo>
                  <a:lnTo>
                    <a:pt x="f27" y="f31"/>
                  </a:lnTo>
                  <a:lnTo>
                    <a:pt x="f32" y="f33"/>
                  </a:lnTo>
                  <a:lnTo>
                    <a:pt x="f34" y="f35"/>
                  </a:lnTo>
                  <a:lnTo>
                    <a:pt x="f36" y="f37"/>
                  </a:lnTo>
                  <a:lnTo>
                    <a:pt x="f38" y="f35"/>
                  </a:lnTo>
                  <a:lnTo>
                    <a:pt x="f39" y="f40"/>
                  </a:lnTo>
                  <a:lnTo>
                    <a:pt x="f41" y="f42"/>
                  </a:lnTo>
                  <a:lnTo>
                    <a:pt x="f43" y="f44"/>
                  </a:lnTo>
                  <a:lnTo>
                    <a:pt x="f45" y="f44"/>
                  </a:lnTo>
                  <a:lnTo>
                    <a:pt x="f46" y="f47"/>
                  </a:lnTo>
                  <a:lnTo>
                    <a:pt x="f48" y="f49"/>
                  </a:lnTo>
                  <a:lnTo>
                    <a:pt x="f50" y="f51"/>
                  </a:lnTo>
                  <a:lnTo>
                    <a:pt x="f52" y="f53"/>
                  </a:lnTo>
                  <a:lnTo>
                    <a:pt x="f54" y="f53"/>
                  </a:lnTo>
                  <a:lnTo>
                    <a:pt x="f55" y="f49"/>
                  </a:lnTo>
                  <a:lnTo>
                    <a:pt x="f13" y="f53"/>
                  </a:lnTo>
                  <a:lnTo>
                    <a:pt x="f56" y="f57"/>
                  </a:lnTo>
                  <a:lnTo>
                    <a:pt x="f58" y="f51"/>
                  </a:lnTo>
                  <a:lnTo>
                    <a:pt x="f59" y="f60"/>
                  </a:lnTo>
                  <a:lnTo>
                    <a:pt x="f61" y="f62"/>
                  </a:lnTo>
                  <a:lnTo>
                    <a:pt x="f63" y="f64"/>
                  </a:lnTo>
                  <a:lnTo>
                    <a:pt x="f65" y="f57"/>
                  </a:lnTo>
                  <a:lnTo>
                    <a:pt x="f66" y="f64"/>
                  </a:lnTo>
                  <a:lnTo>
                    <a:pt x="f67" y="f68"/>
                  </a:lnTo>
                  <a:lnTo>
                    <a:pt x="f69" y="f70"/>
                  </a:lnTo>
                  <a:lnTo>
                    <a:pt x="f71" y="f72"/>
                  </a:lnTo>
                  <a:lnTo>
                    <a:pt x="f73" y="f74"/>
                  </a:lnTo>
                  <a:lnTo>
                    <a:pt x="f75" y="f76"/>
                  </a:lnTo>
                  <a:lnTo>
                    <a:pt x="f77" y="f72"/>
                  </a:lnTo>
                  <a:lnTo>
                    <a:pt x="f78" y="f5"/>
                  </a:lnTo>
                  <a:lnTo>
                    <a:pt x="f79" y="f5"/>
                  </a:lnTo>
                  <a:lnTo>
                    <a:pt x="f62" y="f72"/>
                  </a:lnTo>
                  <a:lnTo>
                    <a:pt x="f80" y="f81"/>
                  </a:lnTo>
                  <a:lnTo>
                    <a:pt x="f80" y="f82"/>
                  </a:lnTo>
                  <a:lnTo>
                    <a:pt x="f83" y="f60"/>
                  </a:lnTo>
                  <a:lnTo>
                    <a:pt x="f68" y="f35"/>
                  </a:lnTo>
                  <a:lnTo>
                    <a:pt x="f84" y="f42"/>
                  </a:lnTo>
                  <a:lnTo>
                    <a:pt x="f85" y="f86"/>
                  </a:lnTo>
                  <a:lnTo>
                    <a:pt x="f87" y="f73"/>
                  </a:lnTo>
                  <a:lnTo>
                    <a:pt x="f5" y="f28"/>
                  </a:lnTo>
                  <a:lnTo>
                    <a:pt x="f88" y="f89"/>
                  </a:lnTo>
                  <a:lnTo>
                    <a:pt x="f90" y="f26"/>
                  </a:lnTo>
                  <a:lnTo>
                    <a:pt x="f83" y="f91"/>
                  </a:lnTo>
                  <a:lnTo>
                    <a:pt x="f92" y="f93"/>
                  </a:lnTo>
                  <a:lnTo>
                    <a:pt x="f94" y="f67"/>
                  </a:lnTo>
                  <a:lnTo>
                    <a:pt x="f95" y="f96"/>
                  </a:lnTo>
                  <a:lnTo>
                    <a:pt x="f40" y="f97"/>
                  </a:lnTo>
                  <a:lnTo>
                    <a:pt x="f77" y="f98"/>
                  </a:lnTo>
                  <a:lnTo>
                    <a:pt x="f99" y="f100"/>
                  </a:lnTo>
                  <a:lnTo>
                    <a:pt x="f101" y="f102"/>
                  </a:lnTo>
                  <a:lnTo>
                    <a:pt x="f103" y="f17"/>
                  </a:lnTo>
                  <a:lnTo>
                    <a:pt x="f104" y="f105"/>
                  </a:lnTo>
                  <a:lnTo>
                    <a:pt x="f106" y="f107"/>
                  </a:lnTo>
                  <a:lnTo>
                    <a:pt x="f106" y="f108"/>
                  </a:lnTo>
                  <a:lnTo>
                    <a:pt x="f89" y="f109"/>
                  </a:lnTo>
                  <a:lnTo>
                    <a:pt x="f110" y="f98"/>
                  </a:lnTo>
                  <a:lnTo>
                    <a:pt x="f111" y="f21"/>
                  </a:lnTo>
                  <a:lnTo>
                    <a:pt x="f25" y="f19"/>
                  </a:lnTo>
                  <a:lnTo>
                    <a:pt x="f112" y="f113"/>
                  </a:lnTo>
                  <a:lnTo>
                    <a:pt x="f114" y="f115"/>
                  </a:lnTo>
                  <a:lnTo>
                    <a:pt x="f61" y="f116"/>
                  </a:lnTo>
                  <a:lnTo>
                    <a:pt x="f58" y="f59"/>
                  </a:lnTo>
                  <a:lnTo>
                    <a:pt x="f117" y="f58"/>
                  </a:lnTo>
                  <a:lnTo>
                    <a:pt x="f118" y="f119"/>
                  </a:lnTo>
                  <a:lnTo>
                    <a:pt x="f120" y="f121"/>
                  </a:lnTo>
                  <a:lnTo>
                    <a:pt x="f122" y="f121"/>
                  </a:lnTo>
                  <a:lnTo>
                    <a:pt x="f54" y="f121"/>
                  </a:lnTo>
                  <a:lnTo>
                    <a:pt x="f123" y="f124"/>
                  </a:lnTo>
                  <a:lnTo>
                    <a:pt x="f125" y="f126"/>
                  </a:lnTo>
                  <a:lnTo>
                    <a:pt x="f127" y="f124"/>
                  </a:lnTo>
                  <a:lnTo>
                    <a:pt x="f128" y="f126"/>
                  </a:lnTo>
                  <a:lnTo>
                    <a:pt x="f129" y="f126"/>
                  </a:lnTo>
                  <a:lnTo>
                    <a:pt x="f130" y="f126"/>
                  </a:lnTo>
                  <a:lnTo>
                    <a:pt x="f131" y="f132"/>
                  </a:lnTo>
                  <a:lnTo>
                    <a:pt x="f133" y="f11"/>
                  </a:lnTo>
                  <a:lnTo>
                    <a:pt x="f133" y="f134"/>
                  </a:lnTo>
                  <a:lnTo>
                    <a:pt x="f133" y="f135"/>
                  </a:lnTo>
                  <a:lnTo>
                    <a:pt x="f136" y="f137"/>
                  </a:lnTo>
                  <a:lnTo>
                    <a:pt x="f138" y="f139"/>
                  </a:lnTo>
                  <a:lnTo>
                    <a:pt x="f140" y="f123"/>
                  </a:lnTo>
                  <a:lnTo>
                    <a:pt x="f141" y="f142"/>
                  </a:lnTo>
                  <a:lnTo>
                    <a:pt x="f143" y="f7"/>
                  </a:lnTo>
                  <a:lnTo>
                    <a:pt x="f144" y="f142"/>
                  </a:lnTo>
                  <a:lnTo>
                    <a:pt x="f145" y="f146"/>
                  </a:lnTo>
                  <a:lnTo>
                    <a:pt x="f147" y="f54"/>
                  </a:lnTo>
                  <a:lnTo>
                    <a:pt x="f148" y="f149"/>
                  </a:lnTo>
                  <a:lnTo>
                    <a:pt x="f18" y="f54"/>
                  </a:lnTo>
                  <a:lnTo>
                    <a:pt x="f150" y="f54"/>
                  </a:lnTo>
                  <a:lnTo>
                    <a:pt x="f151" y="f146"/>
                  </a:lnTo>
                  <a:lnTo>
                    <a:pt x="f10" y="f152"/>
                  </a:lnTo>
                  <a:lnTo>
                    <a:pt x="f153" y="f152"/>
                  </a:lnTo>
                  <a:lnTo>
                    <a:pt x="f8" y="f154"/>
                  </a:lnTo>
                  <a:lnTo>
                    <a:pt x="f6" y="f54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D9D9D9"/>
            </a:solidFill>
            <a:ln w="6345" cap="flat">
              <a:solidFill>
                <a:srgbClr val="A6A6A6"/>
              </a:solidFill>
              <a:prstDash val="solid"/>
              <a:round/>
            </a:ln>
          </p:spPr>
          <p:txBody>
            <a:bodyPr vert="horz" wrap="square" lIns="68580" tIns="34290" rIns="68580" bIns="3429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290" rtl="0" fontAlgn="auto" hangingPunct="1">
                <a:lnSpc>
                  <a:spcPct val="100000"/>
                </a:lnSpc>
                <a:spcBef>
                  <a:spcPts val="50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000" b="0" i="0" u="none" strike="noStrike" kern="0" cap="none" spc="0" baseline="0">
                <a:solidFill>
                  <a:srgbClr val="133B9C"/>
                </a:solidFill>
                <a:highlight>
                  <a:srgbClr val="008556"/>
                </a:highlight>
                <a:uFillTx/>
                <a:latin typeface="Arial"/>
              </a:endParaRPr>
            </a:p>
          </p:txBody>
        </p:sp>
        <p:sp>
          <p:nvSpPr>
            <p:cNvPr id="21" name="Freeform 162">
              <a:extLst>
                <a:ext uri="{FF2B5EF4-FFF2-40B4-BE49-F238E27FC236}">
                  <a16:creationId xmlns:a16="http://schemas.microsoft.com/office/drawing/2014/main" id="{F2F2E610-446A-8C4C-0CC0-60E4B89C9072}"/>
                </a:ext>
              </a:extLst>
            </p:cNvPr>
            <p:cNvSpPr/>
            <p:nvPr/>
          </p:nvSpPr>
          <p:spPr>
            <a:xfrm>
              <a:off x="4240740" y="2063435"/>
              <a:ext cx="387257" cy="135706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14"/>
                <a:gd name="f7" fmla="val 162"/>
                <a:gd name="f8" fmla="val 270"/>
                <a:gd name="f9" fmla="val 5"/>
                <a:gd name="f10" fmla="val 234"/>
                <a:gd name="f11" fmla="val 221"/>
                <a:gd name="f12" fmla="val 20"/>
                <a:gd name="f13" fmla="val 211"/>
                <a:gd name="f14" fmla="val 198"/>
                <a:gd name="f15" fmla="val 10"/>
                <a:gd name="f16" fmla="val 187"/>
                <a:gd name="f17" fmla="val 13"/>
                <a:gd name="f18" fmla="val 174"/>
                <a:gd name="f19" fmla="val 15"/>
                <a:gd name="f20" fmla="val 157"/>
                <a:gd name="f21" fmla="val 18"/>
                <a:gd name="f22" fmla="val 142"/>
                <a:gd name="f23" fmla="val 8"/>
                <a:gd name="f24" fmla="val 132"/>
                <a:gd name="f25" fmla="val 4"/>
                <a:gd name="f26" fmla="val 109"/>
                <a:gd name="f27" fmla="val 114"/>
                <a:gd name="f28" fmla="val 112"/>
                <a:gd name="f29" fmla="val 30"/>
                <a:gd name="f30" fmla="val 104"/>
                <a:gd name="f31" fmla="val 33"/>
                <a:gd name="f32" fmla="val 97"/>
                <a:gd name="f33" fmla="val 42"/>
                <a:gd name="f34" fmla="val 95"/>
                <a:gd name="f35" fmla="val 49"/>
                <a:gd name="f36" fmla="val 59"/>
                <a:gd name="f37" fmla="val 67"/>
                <a:gd name="f38" fmla="val 88"/>
                <a:gd name="f39" fmla="val 72"/>
                <a:gd name="f40" fmla="val 68"/>
                <a:gd name="f41" fmla="val 77"/>
                <a:gd name="f42" fmla="val 80"/>
                <a:gd name="f43" fmla="val 89"/>
                <a:gd name="f44" fmla="val 17"/>
                <a:gd name="f45" fmla="val 100"/>
                <a:gd name="f46" fmla="val 122"/>
                <a:gd name="f47" fmla="val 22"/>
                <a:gd name="f48" fmla="val 154"/>
                <a:gd name="f49" fmla="val 41"/>
                <a:gd name="f50" fmla="val 159"/>
                <a:gd name="f51" fmla="val 52"/>
                <a:gd name="f52" fmla="val 156"/>
                <a:gd name="f53" fmla="val 147"/>
                <a:gd name="f54" fmla="val 102"/>
                <a:gd name="f55" fmla="val 134"/>
                <a:gd name="f56" fmla="val 115"/>
                <a:gd name="f57" fmla="val 108"/>
                <a:gd name="f58" fmla="val 117"/>
                <a:gd name="f59" fmla="val 92"/>
                <a:gd name="f60" fmla="val 85"/>
                <a:gd name="f61" fmla="val 144"/>
                <a:gd name="f62" fmla="val 65"/>
                <a:gd name="f63" fmla="val 182"/>
                <a:gd name="f64" fmla="val 48"/>
                <a:gd name="f65" fmla="val 214"/>
                <a:gd name="f66" fmla="val 45"/>
                <a:gd name="f67" fmla="val 229"/>
                <a:gd name="f68" fmla="val 53"/>
                <a:gd name="f69" fmla="val 249"/>
                <a:gd name="f70" fmla="val 261"/>
                <a:gd name="f71" fmla="val 71"/>
                <a:gd name="f72" fmla="val 283"/>
                <a:gd name="f73" fmla="val 301"/>
                <a:gd name="f74" fmla="val 326"/>
                <a:gd name="f75" fmla="val 348"/>
                <a:gd name="f76" fmla="val 377"/>
                <a:gd name="f77" fmla="val 149"/>
                <a:gd name="f78" fmla="val 400"/>
                <a:gd name="f79" fmla="val 406"/>
                <a:gd name="f80" fmla="val 403"/>
                <a:gd name="f81" fmla="val 125"/>
                <a:gd name="f82" fmla="val 382"/>
                <a:gd name="f83" fmla="val 374"/>
                <a:gd name="f84" fmla="val 101"/>
                <a:gd name="f85" fmla="val 357"/>
                <a:gd name="f86" fmla="val 352"/>
                <a:gd name="f87" fmla="val 82"/>
                <a:gd name="f88" fmla="val 350"/>
                <a:gd name="f89" fmla="val 344"/>
                <a:gd name="f90" fmla="val 61"/>
                <a:gd name="f91" fmla="val 340"/>
                <a:gd name="f92" fmla="val 55"/>
                <a:gd name="f93" fmla="val 310"/>
                <a:gd name="f94" fmla="val 40"/>
                <a:gd name="f95" fmla="val 306"/>
                <a:gd name="f96" fmla="val 308"/>
                <a:gd name="f97" fmla="val 25"/>
                <a:gd name="f98" fmla="val 298"/>
                <a:gd name="f99" fmla="val 290"/>
                <a:gd name="f100" fmla="+- 0 0 -90"/>
                <a:gd name="f101" fmla="*/ f3 1 414"/>
                <a:gd name="f102" fmla="*/ f4 1 162"/>
                <a:gd name="f103" fmla="+- f7 0 f5"/>
                <a:gd name="f104" fmla="+- f6 0 f5"/>
                <a:gd name="f105" fmla="*/ f100 f0 1"/>
                <a:gd name="f106" fmla="*/ f104 1 414"/>
                <a:gd name="f107" fmla="*/ f103 1 162"/>
                <a:gd name="f108" fmla="*/ f105 1 f2"/>
                <a:gd name="f109" fmla="*/ 234 1 f106"/>
                <a:gd name="f110" fmla="*/ 0 1 f107"/>
                <a:gd name="f111" fmla="*/ 211 1 f106"/>
                <a:gd name="f112" fmla="*/ 20 1 f107"/>
                <a:gd name="f113" fmla="*/ 187 1 f106"/>
                <a:gd name="f114" fmla="*/ 13 1 f107"/>
                <a:gd name="f115" fmla="*/ 162 1 f106"/>
                <a:gd name="f116" fmla="*/ 142 1 f106"/>
                <a:gd name="f117" fmla="*/ 8 1 f107"/>
                <a:gd name="f118" fmla="*/ 109 1 f106"/>
                <a:gd name="f119" fmla="*/ 114 1 f106"/>
                <a:gd name="f120" fmla="*/ 104 1 f106"/>
                <a:gd name="f121" fmla="*/ 33 1 f107"/>
                <a:gd name="f122" fmla="*/ 95 1 f106"/>
                <a:gd name="f123" fmla="*/ 49 1 f107"/>
                <a:gd name="f124" fmla="*/ 67 1 f107"/>
                <a:gd name="f125" fmla="*/ 68 1 f106"/>
                <a:gd name="f126" fmla="*/ 77 1 f107"/>
                <a:gd name="f127" fmla="*/ 30 1 f106"/>
                <a:gd name="f128" fmla="*/ 89 1 f107"/>
                <a:gd name="f129" fmla="*/ 8 1 f106"/>
                <a:gd name="f130" fmla="*/ 109 1 f107"/>
                <a:gd name="f131" fmla="*/ 0 1 f106"/>
                <a:gd name="f132" fmla="*/ 142 1 f107"/>
                <a:gd name="f133" fmla="*/ 22 1 f106"/>
                <a:gd name="f134" fmla="*/ 154 1 f107"/>
                <a:gd name="f135" fmla="*/ 52 1 f106"/>
                <a:gd name="f136" fmla="*/ 162 1 f107"/>
                <a:gd name="f137" fmla="*/ 89 1 f106"/>
                <a:gd name="f138" fmla="*/ 147 1 f107"/>
                <a:gd name="f139" fmla="*/ 115 1 f107"/>
                <a:gd name="f140" fmla="*/ 117 1 f106"/>
                <a:gd name="f141" fmla="*/ 92 1 f107"/>
                <a:gd name="f142" fmla="*/ 144 1 f106"/>
                <a:gd name="f143" fmla="*/ 80 1 f107"/>
                <a:gd name="f144" fmla="*/ 182 1 f106"/>
                <a:gd name="f145" fmla="*/ 48 1 f107"/>
                <a:gd name="f146" fmla="*/ 229 1 f106"/>
                <a:gd name="f147" fmla="*/ 53 1 f107"/>
                <a:gd name="f148" fmla="*/ 261 1 f106"/>
                <a:gd name="f149" fmla="*/ 71 1 f107"/>
                <a:gd name="f150" fmla="*/ 301 1 f106"/>
                <a:gd name="f151" fmla="*/ 85 1 f107"/>
                <a:gd name="f152" fmla="*/ 348 1 f106"/>
                <a:gd name="f153" fmla="*/ 122 1 f107"/>
                <a:gd name="f154" fmla="*/ 400 1 f106"/>
                <a:gd name="f155" fmla="*/ 159 1 f107"/>
                <a:gd name="f156" fmla="*/ 414 1 f106"/>
                <a:gd name="f157" fmla="*/ 144 1 f107"/>
                <a:gd name="f158" fmla="*/ 382 1 f106"/>
                <a:gd name="f159" fmla="*/ 114 1 f107"/>
                <a:gd name="f160" fmla="*/ 357 1 f106"/>
                <a:gd name="f161" fmla="*/ 100 1 f107"/>
                <a:gd name="f162" fmla="*/ 352 1 f106"/>
                <a:gd name="f163" fmla="*/ 82 1 f107"/>
                <a:gd name="f164" fmla="*/ 344 1 f106"/>
                <a:gd name="f165" fmla="*/ 61 1 f107"/>
                <a:gd name="f166" fmla="*/ 326 1 f106"/>
                <a:gd name="f167" fmla="*/ 306 1 f106"/>
                <a:gd name="f168" fmla="*/ 18 1 f107"/>
                <a:gd name="f169" fmla="*/ 290 1 f106"/>
                <a:gd name="f170" fmla="*/ 270 1 f106"/>
                <a:gd name="f171" fmla="*/ 5 1 f107"/>
                <a:gd name="f172" fmla="*/ f6 1 f106"/>
                <a:gd name="f173" fmla="*/ f7 1 f107"/>
                <a:gd name="f174" fmla="+- f108 0 f1"/>
                <a:gd name="f175" fmla="*/ f131 f101 1"/>
                <a:gd name="f176" fmla="*/ f172 f101 1"/>
                <a:gd name="f177" fmla="*/ f173 f102 1"/>
                <a:gd name="f178" fmla="*/ f110 f102 1"/>
                <a:gd name="f179" fmla="*/ f109 f101 1"/>
                <a:gd name="f180" fmla="*/ f111 f101 1"/>
                <a:gd name="f181" fmla="*/ f112 f102 1"/>
                <a:gd name="f182" fmla="*/ f113 f101 1"/>
                <a:gd name="f183" fmla="*/ f114 f102 1"/>
                <a:gd name="f184" fmla="*/ f115 f101 1"/>
                <a:gd name="f185" fmla="*/ f116 f101 1"/>
                <a:gd name="f186" fmla="*/ f117 f102 1"/>
                <a:gd name="f187" fmla="*/ f118 f101 1"/>
                <a:gd name="f188" fmla="*/ f119 f101 1"/>
                <a:gd name="f189" fmla="*/ f120 f101 1"/>
                <a:gd name="f190" fmla="*/ f121 f102 1"/>
                <a:gd name="f191" fmla="*/ f122 f101 1"/>
                <a:gd name="f192" fmla="*/ f123 f102 1"/>
                <a:gd name="f193" fmla="*/ f124 f102 1"/>
                <a:gd name="f194" fmla="*/ f125 f101 1"/>
                <a:gd name="f195" fmla="*/ f126 f102 1"/>
                <a:gd name="f196" fmla="*/ f127 f101 1"/>
                <a:gd name="f197" fmla="*/ f128 f102 1"/>
                <a:gd name="f198" fmla="*/ f129 f101 1"/>
                <a:gd name="f199" fmla="*/ f130 f102 1"/>
                <a:gd name="f200" fmla="*/ f132 f102 1"/>
                <a:gd name="f201" fmla="*/ f133 f101 1"/>
                <a:gd name="f202" fmla="*/ f134 f102 1"/>
                <a:gd name="f203" fmla="*/ f135 f101 1"/>
                <a:gd name="f204" fmla="*/ f136 f102 1"/>
                <a:gd name="f205" fmla="*/ f137 f101 1"/>
                <a:gd name="f206" fmla="*/ f138 f102 1"/>
                <a:gd name="f207" fmla="*/ f139 f102 1"/>
                <a:gd name="f208" fmla="*/ f140 f101 1"/>
                <a:gd name="f209" fmla="*/ f141 f102 1"/>
                <a:gd name="f210" fmla="*/ f142 f101 1"/>
                <a:gd name="f211" fmla="*/ f143 f102 1"/>
                <a:gd name="f212" fmla="*/ f144 f101 1"/>
                <a:gd name="f213" fmla="*/ f145 f102 1"/>
                <a:gd name="f214" fmla="*/ f146 f101 1"/>
                <a:gd name="f215" fmla="*/ f147 f102 1"/>
                <a:gd name="f216" fmla="*/ f148 f101 1"/>
                <a:gd name="f217" fmla="*/ f149 f102 1"/>
                <a:gd name="f218" fmla="*/ f150 f101 1"/>
                <a:gd name="f219" fmla="*/ f151 f102 1"/>
                <a:gd name="f220" fmla="*/ f152 f101 1"/>
                <a:gd name="f221" fmla="*/ f153 f102 1"/>
                <a:gd name="f222" fmla="*/ f154 f101 1"/>
                <a:gd name="f223" fmla="*/ f155 f102 1"/>
                <a:gd name="f224" fmla="*/ f156 f101 1"/>
                <a:gd name="f225" fmla="*/ f157 f102 1"/>
                <a:gd name="f226" fmla="*/ f158 f101 1"/>
                <a:gd name="f227" fmla="*/ f159 f102 1"/>
                <a:gd name="f228" fmla="*/ f160 f101 1"/>
                <a:gd name="f229" fmla="*/ f161 f102 1"/>
                <a:gd name="f230" fmla="*/ f162 f101 1"/>
                <a:gd name="f231" fmla="*/ f163 f102 1"/>
                <a:gd name="f232" fmla="*/ f164 f101 1"/>
                <a:gd name="f233" fmla="*/ f165 f102 1"/>
                <a:gd name="f234" fmla="*/ f166 f101 1"/>
                <a:gd name="f235" fmla="*/ f167 f101 1"/>
                <a:gd name="f236" fmla="*/ f168 f102 1"/>
                <a:gd name="f237" fmla="*/ f169 f101 1"/>
                <a:gd name="f238" fmla="*/ f170 f101 1"/>
                <a:gd name="f239" fmla="*/ f171 f10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74">
                  <a:pos x="f179" y="f178"/>
                </a:cxn>
                <a:cxn ang="f174">
                  <a:pos x="f180" y="f181"/>
                </a:cxn>
                <a:cxn ang="f174">
                  <a:pos x="f182" y="f183"/>
                </a:cxn>
                <a:cxn ang="f174">
                  <a:pos x="f184" y="f181"/>
                </a:cxn>
                <a:cxn ang="f174">
                  <a:pos x="f185" y="f186"/>
                </a:cxn>
                <a:cxn ang="f174">
                  <a:pos x="f187" y="f186"/>
                </a:cxn>
                <a:cxn ang="f174">
                  <a:pos x="f188" y="f181"/>
                </a:cxn>
                <a:cxn ang="f174">
                  <a:pos x="f189" y="f190"/>
                </a:cxn>
                <a:cxn ang="f174">
                  <a:pos x="f191" y="f192"/>
                </a:cxn>
                <a:cxn ang="f174">
                  <a:pos x="f191" y="f193"/>
                </a:cxn>
                <a:cxn ang="f174">
                  <a:pos x="f194" y="f195"/>
                </a:cxn>
                <a:cxn ang="f174">
                  <a:pos x="f196" y="f197"/>
                </a:cxn>
                <a:cxn ang="f174">
                  <a:pos x="f198" y="f199"/>
                </a:cxn>
                <a:cxn ang="f174">
                  <a:pos x="f175" y="f200"/>
                </a:cxn>
                <a:cxn ang="f174">
                  <a:pos x="f201" y="f202"/>
                </a:cxn>
                <a:cxn ang="f174">
                  <a:pos x="f203" y="f204"/>
                </a:cxn>
                <a:cxn ang="f174">
                  <a:pos x="f205" y="f206"/>
                </a:cxn>
                <a:cxn ang="f174">
                  <a:pos x="f189" y="f207"/>
                </a:cxn>
                <a:cxn ang="f174">
                  <a:pos x="f208" y="f209"/>
                </a:cxn>
                <a:cxn ang="f174">
                  <a:pos x="f210" y="f211"/>
                </a:cxn>
                <a:cxn ang="f174">
                  <a:pos x="f212" y="f213"/>
                </a:cxn>
                <a:cxn ang="f174">
                  <a:pos x="f214" y="f215"/>
                </a:cxn>
                <a:cxn ang="f174">
                  <a:pos x="f216" y="f217"/>
                </a:cxn>
                <a:cxn ang="f174">
                  <a:pos x="f218" y="f219"/>
                </a:cxn>
                <a:cxn ang="f174">
                  <a:pos x="f220" y="f221"/>
                </a:cxn>
                <a:cxn ang="f174">
                  <a:pos x="f222" y="f223"/>
                </a:cxn>
                <a:cxn ang="f174">
                  <a:pos x="f224" y="f225"/>
                </a:cxn>
                <a:cxn ang="f174">
                  <a:pos x="f226" y="f227"/>
                </a:cxn>
                <a:cxn ang="f174">
                  <a:pos x="f228" y="f229"/>
                </a:cxn>
                <a:cxn ang="f174">
                  <a:pos x="f230" y="f231"/>
                </a:cxn>
                <a:cxn ang="f174">
                  <a:pos x="f232" y="f233"/>
                </a:cxn>
                <a:cxn ang="f174">
                  <a:pos x="f234" y="f213"/>
                </a:cxn>
                <a:cxn ang="f174">
                  <a:pos x="f235" y="f190"/>
                </a:cxn>
                <a:cxn ang="f174">
                  <a:pos x="f235" y="f236"/>
                </a:cxn>
                <a:cxn ang="f174">
                  <a:pos x="f237" y="f183"/>
                </a:cxn>
                <a:cxn ang="f174">
                  <a:pos x="f238" y="f239"/>
                </a:cxn>
              </a:cxnLst>
              <a:rect l="f175" t="f178" r="f176" b="f177"/>
              <a:pathLst>
                <a:path w="414" h="162">
                  <a:moveTo>
                    <a:pt x="f8" y="f9"/>
                  </a:moveTo>
                  <a:lnTo>
                    <a:pt x="f10" y="f5"/>
                  </a:lnTo>
                  <a:lnTo>
                    <a:pt x="f11" y="f12"/>
                  </a:lnTo>
                  <a:lnTo>
                    <a:pt x="f13" y="f12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7" y="f12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5"/>
                  </a:lnTo>
                  <a:lnTo>
                    <a:pt x="f26" y="f23"/>
                  </a:lnTo>
                  <a:lnTo>
                    <a:pt x="f26" y="f19"/>
                  </a:lnTo>
                  <a:lnTo>
                    <a:pt x="f27" y="f12"/>
                  </a:lnTo>
                  <a:lnTo>
                    <a:pt x="f28" y="f29"/>
                  </a:lnTo>
                  <a:lnTo>
                    <a:pt x="f30" y="f31"/>
                  </a:lnTo>
                  <a:lnTo>
                    <a:pt x="f32" y="f33"/>
                  </a:lnTo>
                  <a:lnTo>
                    <a:pt x="f34" y="f35"/>
                  </a:lnTo>
                  <a:lnTo>
                    <a:pt x="f32" y="f36"/>
                  </a:lnTo>
                  <a:lnTo>
                    <a:pt x="f34" y="f37"/>
                  </a:lnTo>
                  <a:lnTo>
                    <a:pt x="f38" y="f39"/>
                  </a:lnTo>
                  <a:lnTo>
                    <a:pt x="f40" y="f41"/>
                  </a:lnTo>
                  <a:lnTo>
                    <a:pt x="f29" y="f42"/>
                  </a:lnTo>
                  <a:lnTo>
                    <a:pt x="f29" y="f43"/>
                  </a:lnTo>
                  <a:lnTo>
                    <a:pt x="f44" y="f45"/>
                  </a:lnTo>
                  <a:lnTo>
                    <a:pt x="f23" y="f26"/>
                  </a:lnTo>
                  <a:lnTo>
                    <a:pt x="f5" y="f46"/>
                  </a:lnTo>
                  <a:lnTo>
                    <a:pt x="f5" y="f22"/>
                  </a:lnTo>
                  <a:lnTo>
                    <a:pt x="f15" y="f7"/>
                  </a:lnTo>
                  <a:lnTo>
                    <a:pt x="f47" y="f48"/>
                  </a:lnTo>
                  <a:lnTo>
                    <a:pt x="f49" y="f50"/>
                  </a:lnTo>
                  <a:lnTo>
                    <a:pt x="f51" y="f7"/>
                  </a:lnTo>
                  <a:lnTo>
                    <a:pt x="f39" y="f52"/>
                  </a:lnTo>
                  <a:lnTo>
                    <a:pt x="f43" y="f53"/>
                  </a:lnTo>
                  <a:lnTo>
                    <a:pt x="f54" y="f55"/>
                  </a:lnTo>
                  <a:lnTo>
                    <a:pt x="f30" y="f56"/>
                  </a:lnTo>
                  <a:lnTo>
                    <a:pt x="f57" y="f54"/>
                  </a:lnTo>
                  <a:lnTo>
                    <a:pt x="f58" y="f59"/>
                  </a:lnTo>
                  <a:lnTo>
                    <a:pt x="f55" y="f60"/>
                  </a:lnTo>
                  <a:lnTo>
                    <a:pt x="f61" y="f42"/>
                  </a:lnTo>
                  <a:lnTo>
                    <a:pt x="f7" y="f62"/>
                  </a:lnTo>
                  <a:lnTo>
                    <a:pt x="f63" y="f64"/>
                  </a:lnTo>
                  <a:lnTo>
                    <a:pt x="f65" y="f66"/>
                  </a:lnTo>
                  <a:lnTo>
                    <a:pt x="f67" y="f68"/>
                  </a:lnTo>
                  <a:lnTo>
                    <a:pt x="f69" y="f62"/>
                  </a:lnTo>
                  <a:lnTo>
                    <a:pt x="f70" y="f71"/>
                  </a:lnTo>
                  <a:lnTo>
                    <a:pt x="f72" y="f39"/>
                  </a:lnTo>
                  <a:lnTo>
                    <a:pt x="f73" y="f60"/>
                  </a:lnTo>
                  <a:lnTo>
                    <a:pt x="f74" y="f45"/>
                  </a:lnTo>
                  <a:lnTo>
                    <a:pt x="f75" y="f46"/>
                  </a:lnTo>
                  <a:lnTo>
                    <a:pt x="f76" y="f77"/>
                  </a:lnTo>
                  <a:lnTo>
                    <a:pt x="f78" y="f50"/>
                  </a:lnTo>
                  <a:lnTo>
                    <a:pt x="f79" y="f48"/>
                  </a:lnTo>
                  <a:lnTo>
                    <a:pt x="f6" y="f61"/>
                  </a:lnTo>
                  <a:lnTo>
                    <a:pt x="f80" y="f81"/>
                  </a:lnTo>
                  <a:lnTo>
                    <a:pt x="f82" y="f27"/>
                  </a:lnTo>
                  <a:lnTo>
                    <a:pt x="f83" y="f84"/>
                  </a:lnTo>
                  <a:lnTo>
                    <a:pt x="f85" y="f45"/>
                  </a:lnTo>
                  <a:lnTo>
                    <a:pt x="f86" y="f59"/>
                  </a:lnTo>
                  <a:lnTo>
                    <a:pt x="f86" y="f87"/>
                  </a:lnTo>
                  <a:lnTo>
                    <a:pt x="f88" y="f39"/>
                  </a:lnTo>
                  <a:lnTo>
                    <a:pt x="f89" y="f90"/>
                  </a:lnTo>
                  <a:lnTo>
                    <a:pt x="f91" y="f92"/>
                  </a:lnTo>
                  <a:lnTo>
                    <a:pt x="f74" y="f64"/>
                  </a:lnTo>
                  <a:lnTo>
                    <a:pt x="f93" y="f94"/>
                  </a:lnTo>
                  <a:lnTo>
                    <a:pt x="f95" y="f31"/>
                  </a:lnTo>
                  <a:lnTo>
                    <a:pt x="f96" y="f97"/>
                  </a:lnTo>
                  <a:lnTo>
                    <a:pt x="f95" y="f21"/>
                  </a:lnTo>
                  <a:lnTo>
                    <a:pt x="f98" y="f21"/>
                  </a:lnTo>
                  <a:lnTo>
                    <a:pt x="f99" y="f17"/>
                  </a:lnTo>
                  <a:lnTo>
                    <a:pt x="f72" y="f19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D9D9D9"/>
            </a:solidFill>
            <a:ln w="6345" cap="flat">
              <a:solidFill>
                <a:srgbClr val="A6A6A6"/>
              </a:solidFill>
              <a:prstDash val="solid"/>
              <a:round/>
            </a:ln>
          </p:spPr>
          <p:txBody>
            <a:bodyPr vert="horz" wrap="square" lIns="68580" tIns="34290" rIns="68580" bIns="3429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290" rtl="0" fontAlgn="auto" hangingPunct="1">
                <a:lnSpc>
                  <a:spcPct val="100000"/>
                </a:lnSpc>
                <a:spcBef>
                  <a:spcPts val="50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000" b="0" i="0" u="none" strike="noStrike" kern="0" cap="none" spc="0" baseline="0">
                <a:solidFill>
                  <a:srgbClr val="133B9C"/>
                </a:solidFill>
                <a:highlight>
                  <a:srgbClr val="008556"/>
                </a:highlight>
                <a:uFillTx/>
                <a:latin typeface="Arial"/>
              </a:endParaRPr>
            </a:p>
          </p:txBody>
        </p:sp>
        <p:sp>
          <p:nvSpPr>
            <p:cNvPr id="38" name="Freeform 163">
              <a:extLst>
                <a:ext uri="{FF2B5EF4-FFF2-40B4-BE49-F238E27FC236}">
                  <a16:creationId xmlns:a16="http://schemas.microsoft.com/office/drawing/2014/main" id="{8FA4C59A-10F2-0584-B9AA-4A0E325E0D75}"/>
                </a:ext>
              </a:extLst>
            </p:cNvPr>
            <p:cNvSpPr/>
            <p:nvPr/>
          </p:nvSpPr>
          <p:spPr>
            <a:xfrm>
              <a:off x="4187421" y="1792013"/>
              <a:ext cx="154341" cy="10807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65"/>
                <a:gd name="f7" fmla="val 129"/>
                <a:gd name="f8" fmla="val 154"/>
                <a:gd name="f9" fmla="val 6"/>
                <a:gd name="f10" fmla="val 1"/>
                <a:gd name="f11" fmla="val 116"/>
                <a:gd name="f12" fmla="val 103"/>
                <a:gd name="f13" fmla="val 17"/>
                <a:gd name="f14" fmla="val 98"/>
                <a:gd name="f15" fmla="val 28"/>
                <a:gd name="f16" fmla="val 85"/>
                <a:gd name="f17" fmla="val 30"/>
                <a:gd name="f18" fmla="val 67"/>
                <a:gd name="f19" fmla="val 23"/>
                <a:gd name="f20" fmla="val 57"/>
                <a:gd name="f21" fmla="val 15"/>
                <a:gd name="f22" fmla="val 42"/>
                <a:gd name="f23" fmla="val 3"/>
                <a:gd name="f24" fmla="val 35"/>
                <a:gd name="f25" fmla="val 22"/>
                <a:gd name="f26" fmla="val 10"/>
                <a:gd name="f27" fmla="val 13"/>
                <a:gd name="f28" fmla="val 9"/>
                <a:gd name="f29" fmla="val 20"/>
                <a:gd name="f30" fmla="val 73"/>
                <a:gd name="f31" fmla="val 80"/>
                <a:gd name="f32" fmla="val 93"/>
                <a:gd name="f33" fmla="val 108"/>
                <a:gd name="f34" fmla="val 122"/>
                <a:gd name="f35" fmla="val 33"/>
                <a:gd name="f36" fmla="val 117"/>
                <a:gd name="f37" fmla="val 49"/>
                <a:gd name="f38" fmla="val 113"/>
                <a:gd name="f39" fmla="val 69"/>
                <a:gd name="f40" fmla="val 109"/>
                <a:gd name="f41" fmla="val 119"/>
                <a:gd name="f42" fmla="val 136"/>
                <a:gd name="f43" fmla="val 102"/>
                <a:gd name="f44" fmla="val 141"/>
                <a:gd name="f45" fmla="val 89"/>
                <a:gd name="f46" fmla="val 147"/>
                <a:gd name="f47" fmla="val 83"/>
                <a:gd name="f48" fmla="val 84"/>
                <a:gd name="f49" fmla="val 161"/>
                <a:gd name="f50" fmla="val 53"/>
                <a:gd name="f51" fmla="val 156"/>
                <a:gd name="f52" fmla="val 44"/>
                <a:gd name="f53" fmla="+- 0 0 -90"/>
                <a:gd name="f54" fmla="*/ f3 1 165"/>
                <a:gd name="f55" fmla="*/ f4 1 129"/>
                <a:gd name="f56" fmla="+- f7 0 f5"/>
                <a:gd name="f57" fmla="+- f6 0 f5"/>
                <a:gd name="f58" fmla="*/ f53 f0 1"/>
                <a:gd name="f59" fmla="*/ f57 1 165"/>
                <a:gd name="f60" fmla="*/ f56 1 129"/>
                <a:gd name="f61" fmla="*/ f58 1 f2"/>
                <a:gd name="f62" fmla="*/ 154 1 f59"/>
                <a:gd name="f63" fmla="*/ 6 1 f60"/>
                <a:gd name="f64" fmla="*/ 129 1 f59"/>
                <a:gd name="f65" fmla="*/ 1 1 f60"/>
                <a:gd name="f66" fmla="*/ 116 1 f59"/>
                <a:gd name="f67" fmla="*/ 103 1 f59"/>
                <a:gd name="f68" fmla="*/ 17 1 f60"/>
                <a:gd name="f69" fmla="*/ 98 1 f59"/>
                <a:gd name="f70" fmla="*/ 28 1 f60"/>
                <a:gd name="f71" fmla="*/ 85 1 f59"/>
                <a:gd name="f72" fmla="*/ 30 1 f60"/>
                <a:gd name="f73" fmla="*/ 67 1 f59"/>
                <a:gd name="f74" fmla="*/ 23 1 f60"/>
                <a:gd name="f75" fmla="*/ 57 1 f59"/>
                <a:gd name="f76" fmla="*/ 15 1 f60"/>
                <a:gd name="f77" fmla="*/ 42 1 f59"/>
                <a:gd name="f78" fmla="*/ 3 1 f60"/>
                <a:gd name="f79" fmla="*/ 35 1 f59"/>
                <a:gd name="f80" fmla="*/ 0 1 f60"/>
                <a:gd name="f81" fmla="*/ 22 1 f59"/>
                <a:gd name="f82" fmla="*/ 10 1 f60"/>
                <a:gd name="f83" fmla="*/ 13 1 f59"/>
                <a:gd name="f84" fmla="*/ 0 1 f59"/>
                <a:gd name="f85" fmla="*/ 35 1 f60"/>
                <a:gd name="f86" fmla="*/ 9 1 f59"/>
                <a:gd name="f87" fmla="*/ 57 1 f60"/>
                <a:gd name="f88" fmla="*/ 20 1 f59"/>
                <a:gd name="f89" fmla="*/ 73 1 f60"/>
                <a:gd name="f90" fmla="*/ 80 1 f60"/>
                <a:gd name="f91" fmla="*/ 15 1 f59"/>
                <a:gd name="f92" fmla="*/ 93 1 f60"/>
                <a:gd name="f93" fmla="*/ 17 1 f59"/>
                <a:gd name="f94" fmla="*/ 108 1 f60"/>
                <a:gd name="f95" fmla="*/ 122 1 f60"/>
                <a:gd name="f96" fmla="*/ 129 1 f60"/>
                <a:gd name="f97" fmla="*/ 33 1 f59"/>
                <a:gd name="f98" fmla="*/ 117 1 f60"/>
                <a:gd name="f99" fmla="*/ 49 1 f59"/>
                <a:gd name="f100" fmla="*/ 113 1 f60"/>
                <a:gd name="f101" fmla="*/ 69 1 f59"/>
                <a:gd name="f102" fmla="*/ 109 1 f60"/>
                <a:gd name="f103" fmla="*/ 109 1 f59"/>
                <a:gd name="f104" fmla="*/ 119 1 f59"/>
                <a:gd name="f105" fmla="*/ 136 1 f59"/>
                <a:gd name="f106" fmla="*/ 102 1 f60"/>
                <a:gd name="f107" fmla="*/ 141 1 f59"/>
                <a:gd name="f108" fmla="*/ 89 1 f60"/>
                <a:gd name="f109" fmla="*/ 147 1 f59"/>
                <a:gd name="f110" fmla="*/ 83 1 f60"/>
                <a:gd name="f111" fmla="*/ 84 1 f60"/>
                <a:gd name="f112" fmla="*/ 165 1 f59"/>
                <a:gd name="f113" fmla="*/ 161 1 f59"/>
                <a:gd name="f114" fmla="*/ 53 1 f60"/>
                <a:gd name="f115" fmla="*/ 156 1 f59"/>
                <a:gd name="f116" fmla="*/ 44 1 f60"/>
                <a:gd name="f117" fmla="*/ 20 1 f60"/>
                <a:gd name="f118" fmla="*/ f6 1 f59"/>
                <a:gd name="f119" fmla="*/ f7 1 f60"/>
                <a:gd name="f120" fmla="+- f61 0 f1"/>
                <a:gd name="f121" fmla="*/ f84 f54 1"/>
                <a:gd name="f122" fmla="*/ f118 f54 1"/>
                <a:gd name="f123" fmla="*/ f119 f55 1"/>
                <a:gd name="f124" fmla="*/ f80 f55 1"/>
                <a:gd name="f125" fmla="*/ f62 f54 1"/>
                <a:gd name="f126" fmla="*/ f63 f55 1"/>
                <a:gd name="f127" fmla="*/ f64 f54 1"/>
                <a:gd name="f128" fmla="*/ f65 f55 1"/>
                <a:gd name="f129" fmla="*/ f66 f54 1"/>
                <a:gd name="f130" fmla="*/ f67 f54 1"/>
                <a:gd name="f131" fmla="*/ f68 f55 1"/>
                <a:gd name="f132" fmla="*/ f69 f54 1"/>
                <a:gd name="f133" fmla="*/ f70 f55 1"/>
                <a:gd name="f134" fmla="*/ f71 f54 1"/>
                <a:gd name="f135" fmla="*/ f72 f55 1"/>
                <a:gd name="f136" fmla="*/ f73 f54 1"/>
                <a:gd name="f137" fmla="*/ f74 f55 1"/>
                <a:gd name="f138" fmla="*/ f75 f54 1"/>
                <a:gd name="f139" fmla="*/ f76 f55 1"/>
                <a:gd name="f140" fmla="*/ f77 f54 1"/>
                <a:gd name="f141" fmla="*/ f78 f55 1"/>
                <a:gd name="f142" fmla="*/ f79 f54 1"/>
                <a:gd name="f143" fmla="*/ f81 f54 1"/>
                <a:gd name="f144" fmla="*/ f82 f55 1"/>
                <a:gd name="f145" fmla="*/ f83 f54 1"/>
                <a:gd name="f146" fmla="*/ f85 f55 1"/>
                <a:gd name="f147" fmla="*/ f86 f54 1"/>
                <a:gd name="f148" fmla="*/ f87 f55 1"/>
                <a:gd name="f149" fmla="*/ f88 f54 1"/>
                <a:gd name="f150" fmla="*/ f89 f55 1"/>
                <a:gd name="f151" fmla="*/ f90 f55 1"/>
                <a:gd name="f152" fmla="*/ f91 f54 1"/>
                <a:gd name="f153" fmla="*/ f92 f55 1"/>
                <a:gd name="f154" fmla="*/ f93 f54 1"/>
                <a:gd name="f155" fmla="*/ f94 f55 1"/>
                <a:gd name="f156" fmla="*/ f95 f55 1"/>
                <a:gd name="f157" fmla="*/ f96 f55 1"/>
                <a:gd name="f158" fmla="*/ f97 f54 1"/>
                <a:gd name="f159" fmla="*/ f98 f55 1"/>
                <a:gd name="f160" fmla="*/ f99 f54 1"/>
                <a:gd name="f161" fmla="*/ f100 f55 1"/>
                <a:gd name="f162" fmla="*/ f101 f54 1"/>
                <a:gd name="f163" fmla="*/ f102 f55 1"/>
                <a:gd name="f164" fmla="*/ f103 f54 1"/>
                <a:gd name="f165" fmla="*/ f104 f54 1"/>
                <a:gd name="f166" fmla="*/ f105 f54 1"/>
                <a:gd name="f167" fmla="*/ f106 f55 1"/>
                <a:gd name="f168" fmla="*/ f107 f54 1"/>
                <a:gd name="f169" fmla="*/ f108 f55 1"/>
                <a:gd name="f170" fmla="*/ f109 f54 1"/>
                <a:gd name="f171" fmla="*/ f110 f55 1"/>
                <a:gd name="f172" fmla="*/ f111 f55 1"/>
                <a:gd name="f173" fmla="*/ f112 f54 1"/>
                <a:gd name="f174" fmla="*/ f113 f54 1"/>
                <a:gd name="f175" fmla="*/ f114 f55 1"/>
                <a:gd name="f176" fmla="*/ f115 f54 1"/>
                <a:gd name="f177" fmla="*/ f116 f55 1"/>
                <a:gd name="f178" fmla="*/ f117 f5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20">
                  <a:pos x="f125" y="f126"/>
                </a:cxn>
                <a:cxn ang="f120">
                  <a:pos x="f127" y="f128"/>
                </a:cxn>
                <a:cxn ang="f120">
                  <a:pos x="f129" y="f128"/>
                </a:cxn>
                <a:cxn ang="f120">
                  <a:pos x="f130" y="f131"/>
                </a:cxn>
                <a:cxn ang="f120">
                  <a:pos x="f132" y="f133"/>
                </a:cxn>
                <a:cxn ang="f120">
                  <a:pos x="f134" y="f135"/>
                </a:cxn>
                <a:cxn ang="f120">
                  <a:pos x="f136" y="f137"/>
                </a:cxn>
                <a:cxn ang="f120">
                  <a:pos x="f138" y="f139"/>
                </a:cxn>
                <a:cxn ang="f120">
                  <a:pos x="f140" y="f141"/>
                </a:cxn>
                <a:cxn ang="f120">
                  <a:pos x="f142" y="f124"/>
                </a:cxn>
                <a:cxn ang="f120">
                  <a:pos x="f143" y="f144"/>
                </a:cxn>
                <a:cxn ang="f120">
                  <a:pos x="f145" y="f137"/>
                </a:cxn>
                <a:cxn ang="f120">
                  <a:pos x="f121" y="f146"/>
                </a:cxn>
                <a:cxn ang="f120">
                  <a:pos x="f147" y="f148"/>
                </a:cxn>
                <a:cxn ang="f120">
                  <a:pos x="f149" y="f150"/>
                </a:cxn>
                <a:cxn ang="f120">
                  <a:pos x="f143" y="f151"/>
                </a:cxn>
                <a:cxn ang="f120">
                  <a:pos x="f152" y="f153"/>
                </a:cxn>
                <a:cxn ang="f120">
                  <a:pos x="f154" y="f155"/>
                </a:cxn>
                <a:cxn ang="f120">
                  <a:pos x="f154" y="f156"/>
                </a:cxn>
                <a:cxn ang="f120">
                  <a:pos x="f143" y="f157"/>
                </a:cxn>
                <a:cxn ang="f120">
                  <a:pos x="f158" y="f159"/>
                </a:cxn>
                <a:cxn ang="f120">
                  <a:pos x="f160" y="f161"/>
                </a:cxn>
                <a:cxn ang="f120">
                  <a:pos x="f138" y="f155"/>
                </a:cxn>
                <a:cxn ang="f120">
                  <a:pos x="f162" y="f163"/>
                </a:cxn>
                <a:cxn ang="f120">
                  <a:pos x="f134" y="f155"/>
                </a:cxn>
                <a:cxn ang="f120">
                  <a:pos x="f132" y="f163"/>
                </a:cxn>
                <a:cxn ang="f120">
                  <a:pos x="f164" y="f161"/>
                </a:cxn>
                <a:cxn ang="f120">
                  <a:pos x="f165" y="f155"/>
                </a:cxn>
                <a:cxn ang="f120">
                  <a:pos x="f166" y="f167"/>
                </a:cxn>
                <a:cxn ang="f120">
                  <a:pos x="f168" y="f169"/>
                </a:cxn>
                <a:cxn ang="f120">
                  <a:pos x="f170" y="f171"/>
                </a:cxn>
                <a:cxn ang="f120">
                  <a:pos x="f125" y="f172"/>
                </a:cxn>
                <a:cxn ang="f120">
                  <a:pos x="f173" y="f171"/>
                </a:cxn>
                <a:cxn ang="f120">
                  <a:pos x="f174" y="f150"/>
                </a:cxn>
                <a:cxn ang="f120">
                  <a:pos x="f174" y="f175"/>
                </a:cxn>
                <a:cxn ang="f120">
                  <a:pos x="f176" y="f177"/>
                </a:cxn>
                <a:cxn ang="f120">
                  <a:pos x="f176" y="f135"/>
                </a:cxn>
                <a:cxn ang="f120">
                  <a:pos x="f125" y="f178"/>
                </a:cxn>
                <a:cxn ang="f120">
                  <a:pos x="f125" y="f126"/>
                </a:cxn>
              </a:cxnLst>
              <a:rect l="f121" t="f124" r="f122" b="f123"/>
              <a:pathLst>
                <a:path w="165" h="129">
                  <a:moveTo>
                    <a:pt x="f8" y="f9"/>
                  </a:moveTo>
                  <a:lnTo>
                    <a:pt x="f7" y="f10"/>
                  </a:lnTo>
                  <a:lnTo>
                    <a:pt x="f11" y="f10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5"/>
                  </a:lnTo>
                  <a:lnTo>
                    <a:pt x="f25" y="f26"/>
                  </a:lnTo>
                  <a:lnTo>
                    <a:pt x="f27" y="f19"/>
                  </a:lnTo>
                  <a:lnTo>
                    <a:pt x="f5" y="f24"/>
                  </a:lnTo>
                  <a:lnTo>
                    <a:pt x="f28" y="f20"/>
                  </a:lnTo>
                  <a:lnTo>
                    <a:pt x="f29" y="f30"/>
                  </a:lnTo>
                  <a:lnTo>
                    <a:pt x="f25" y="f31"/>
                  </a:lnTo>
                  <a:lnTo>
                    <a:pt x="f21" y="f32"/>
                  </a:lnTo>
                  <a:lnTo>
                    <a:pt x="f13" y="f33"/>
                  </a:lnTo>
                  <a:lnTo>
                    <a:pt x="f13" y="f34"/>
                  </a:lnTo>
                  <a:lnTo>
                    <a:pt x="f25" y="f7"/>
                  </a:lnTo>
                  <a:lnTo>
                    <a:pt x="f35" y="f36"/>
                  </a:lnTo>
                  <a:lnTo>
                    <a:pt x="f37" y="f38"/>
                  </a:lnTo>
                  <a:lnTo>
                    <a:pt x="f20" y="f33"/>
                  </a:lnTo>
                  <a:lnTo>
                    <a:pt x="f39" y="f40"/>
                  </a:lnTo>
                  <a:lnTo>
                    <a:pt x="f16" y="f33"/>
                  </a:lnTo>
                  <a:lnTo>
                    <a:pt x="f14" y="f40"/>
                  </a:lnTo>
                  <a:lnTo>
                    <a:pt x="f40" y="f38"/>
                  </a:lnTo>
                  <a:lnTo>
                    <a:pt x="f41" y="f33"/>
                  </a:lnTo>
                  <a:lnTo>
                    <a:pt x="f42" y="f43"/>
                  </a:lnTo>
                  <a:lnTo>
                    <a:pt x="f44" y="f45"/>
                  </a:lnTo>
                  <a:lnTo>
                    <a:pt x="f46" y="f47"/>
                  </a:lnTo>
                  <a:lnTo>
                    <a:pt x="f8" y="f48"/>
                  </a:lnTo>
                  <a:lnTo>
                    <a:pt x="f6" y="f47"/>
                  </a:lnTo>
                  <a:lnTo>
                    <a:pt x="f49" y="f30"/>
                  </a:lnTo>
                  <a:lnTo>
                    <a:pt x="f49" y="f50"/>
                  </a:lnTo>
                  <a:lnTo>
                    <a:pt x="f51" y="f52"/>
                  </a:lnTo>
                  <a:lnTo>
                    <a:pt x="f51" y="f17"/>
                  </a:lnTo>
                  <a:lnTo>
                    <a:pt x="f8" y="f29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D9D9D9"/>
            </a:solidFill>
            <a:ln w="6345" cap="flat">
              <a:solidFill>
                <a:srgbClr val="A6A6A6"/>
              </a:solidFill>
              <a:prstDash val="solid"/>
              <a:round/>
            </a:ln>
          </p:spPr>
          <p:txBody>
            <a:bodyPr vert="horz" wrap="square" lIns="68580" tIns="34290" rIns="68580" bIns="3429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290" rtl="0" fontAlgn="auto" hangingPunct="1">
                <a:lnSpc>
                  <a:spcPct val="100000"/>
                </a:lnSpc>
                <a:spcBef>
                  <a:spcPts val="50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000" b="0" i="0" u="none" strike="noStrike" kern="0" cap="none" spc="0" baseline="0">
                <a:solidFill>
                  <a:srgbClr val="133B9C"/>
                </a:solidFill>
                <a:highlight>
                  <a:srgbClr val="008556"/>
                </a:highlight>
                <a:uFillTx/>
                <a:latin typeface="Arial"/>
              </a:endParaRPr>
            </a:p>
          </p:txBody>
        </p:sp>
        <p:sp>
          <p:nvSpPr>
            <p:cNvPr id="39" name="Freeform 164">
              <a:extLst>
                <a:ext uri="{FF2B5EF4-FFF2-40B4-BE49-F238E27FC236}">
                  <a16:creationId xmlns:a16="http://schemas.microsoft.com/office/drawing/2014/main" id="{E7026837-C48E-4AED-EA13-0B9C027F461E}"/>
                </a:ext>
              </a:extLst>
            </p:cNvPr>
            <p:cNvSpPr/>
            <p:nvPr/>
          </p:nvSpPr>
          <p:spPr>
            <a:xfrm>
              <a:off x="4145331" y="1712424"/>
              <a:ext cx="360127" cy="421373"/>
            </a:xfrm>
            <a:custGeom>
              <a:avLst/>
              <a:gdLst>
                <a:gd name="f0" fmla="val 10800000"/>
                <a:gd name="f1" fmla="val 5400000"/>
                <a:gd name="f2" fmla="val 360"/>
                <a:gd name="f3" fmla="val 180"/>
                <a:gd name="f4" fmla="val w"/>
                <a:gd name="f5" fmla="val h"/>
                <a:gd name="f6" fmla="val 0"/>
                <a:gd name="f7" fmla="val 385"/>
                <a:gd name="f8" fmla="val 503"/>
                <a:gd name="f9" fmla="val 199"/>
                <a:gd name="f10" fmla="val 98"/>
                <a:gd name="f11" fmla="val 213"/>
                <a:gd name="f12" fmla="val 89"/>
                <a:gd name="f13" fmla="val 231"/>
                <a:gd name="f14" fmla="val 71"/>
                <a:gd name="f15" fmla="val 236"/>
                <a:gd name="f16" fmla="val 64"/>
                <a:gd name="f17" fmla="val 40"/>
                <a:gd name="f18" fmla="val 233"/>
                <a:gd name="f19" fmla="val 31"/>
                <a:gd name="f20" fmla="val 260"/>
                <a:gd name="f21" fmla="val 20"/>
                <a:gd name="f22" fmla="val 273"/>
                <a:gd name="f23" fmla="val 16"/>
                <a:gd name="f24" fmla="val 289"/>
                <a:gd name="f25" fmla="val 298"/>
                <a:gd name="f26" fmla="val 300"/>
                <a:gd name="f27" fmla="val 11"/>
                <a:gd name="f28" fmla="val 303"/>
                <a:gd name="f29" fmla="val 318"/>
                <a:gd name="f30" fmla="val 54"/>
                <a:gd name="f31" fmla="val 327"/>
                <a:gd name="f32" fmla="val 323"/>
                <a:gd name="f33" fmla="val 103"/>
                <a:gd name="f34" fmla="val 311"/>
                <a:gd name="f35" fmla="val 116"/>
                <a:gd name="f36" fmla="val 296"/>
                <a:gd name="f37" fmla="val 291"/>
                <a:gd name="f38" fmla="val 123"/>
                <a:gd name="f39" fmla="val 138"/>
                <a:gd name="f40" fmla="val 293"/>
                <a:gd name="f41" fmla="val 165"/>
                <a:gd name="f42" fmla="val 305"/>
                <a:gd name="f43" fmla="val 178"/>
                <a:gd name="f44" fmla="val 307"/>
                <a:gd name="f45" fmla="val 195"/>
                <a:gd name="f46" fmla="val 316"/>
                <a:gd name="f47" fmla="val 218"/>
                <a:gd name="f48" fmla="val 230"/>
                <a:gd name="f49" fmla="val 331"/>
                <a:gd name="f50" fmla="val 238"/>
                <a:gd name="f51" fmla="val 248"/>
                <a:gd name="f52" fmla="val 255"/>
                <a:gd name="f53" fmla="val 258"/>
                <a:gd name="f54" fmla="val 280"/>
                <a:gd name="f55" fmla="val 276"/>
                <a:gd name="f56" fmla="val 264"/>
                <a:gd name="f57" fmla="val 285"/>
                <a:gd name="f58" fmla="val 277"/>
                <a:gd name="f59" fmla="val 317"/>
                <a:gd name="f60" fmla="val 319"/>
                <a:gd name="f61" fmla="val 332"/>
                <a:gd name="f62" fmla="val 315"/>
                <a:gd name="f63" fmla="val 345"/>
                <a:gd name="f64" fmla="val 342"/>
                <a:gd name="f65" fmla="val 359"/>
                <a:gd name="f66" fmla="val 370"/>
                <a:gd name="f67" fmla="val 371"/>
                <a:gd name="f68" fmla="val 377"/>
                <a:gd name="f69" fmla="val 382"/>
                <a:gd name="f70" fmla="val 401"/>
                <a:gd name="f71" fmla="val 411"/>
                <a:gd name="f72" fmla="val 416"/>
                <a:gd name="f73" fmla="val 376"/>
                <a:gd name="f74" fmla="val 429"/>
                <a:gd name="f75" fmla="val 336"/>
                <a:gd name="f76" fmla="val 424"/>
                <a:gd name="f77" fmla="val 426"/>
                <a:gd name="f78" fmla="val 440"/>
                <a:gd name="f79" fmla="val 444"/>
                <a:gd name="f80" fmla="val 431"/>
                <a:gd name="f81" fmla="val 436"/>
                <a:gd name="f82" fmla="val 283"/>
                <a:gd name="f83" fmla="val 251"/>
                <a:gd name="f84" fmla="val 433"/>
                <a:gd name="f85" fmla="val 229"/>
                <a:gd name="f86" fmla="val 219"/>
                <a:gd name="f87" fmla="val 211"/>
                <a:gd name="f88" fmla="val 439"/>
                <a:gd name="f89" fmla="val 216"/>
                <a:gd name="f90" fmla="val 451"/>
                <a:gd name="f91" fmla="val 200"/>
                <a:gd name="f92" fmla="val 459"/>
                <a:gd name="f93" fmla="val 196"/>
                <a:gd name="f94" fmla="val 466"/>
                <a:gd name="f95" fmla="val 478"/>
                <a:gd name="f96" fmla="val 486"/>
                <a:gd name="f97" fmla="val 191"/>
                <a:gd name="f98" fmla="val 493"/>
                <a:gd name="f99" fmla="val 179"/>
                <a:gd name="f100" fmla="val 498"/>
                <a:gd name="f101" fmla="val 151"/>
                <a:gd name="f102" fmla="val 500"/>
                <a:gd name="f103" fmla="val 132"/>
                <a:gd name="f104" fmla="val 124"/>
                <a:gd name="f105" fmla="val 491"/>
                <a:gd name="f106" fmla="val 112"/>
                <a:gd name="f107" fmla="val 481"/>
                <a:gd name="f108" fmla="val 99"/>
                <a:gd name="f109" fmla="val 473"/>
                <a:gd name="f110" fmla="val 94"/>
                <a:gd name="f111" fmla="val 84"/>
                <a:gd name="f112" fmla="val 483"/>
                <a:gd name="f113" fmla="val 78"/>
                <a:gd name="f114" fmla="val 72"/>
                <a:gd name="f115" fmla="val 496"/>
                <a:gd name="f116" fmla="val 65"/>
                <a:gd name="f117" fmla="val 52"/>
                <a:gd name="f118" fmla="val 38"/>
                <a:gd name="f119" fmla="val 29"/>
                <a:gd name="f120" fmla="val 456"/>
                <a:gd name="f121" fmla="val 25"/>
                <a:gd name="f122" fmla="val 15"/>
                <a:gd name="f123" fmla="val 406"/>
                <a:gd name="f124" fmla="val 394"/>
                <a:gd name="f125" fmla="val 34"/>
                <a:gd name="f126" fmla="val 384"/>
                <a:gd name="f127" fmla="val 42"/>
                <a:gd name="f128" fmla="val 369"/>
                <a:gd name="f129" fmla="val 45"/>
                <a:gd name="f130" fmla="val 357"/>
                <a:gd name="f131" fmla="val 49"/>
                <a:gd name="f132" fmla="val 344"/>
                <a:gd name="f133" fmla="val 47"/>
                <a:gd name="f134" fmla="val 334"/>
                <a:gd name="f135" fmla="val 322"/>
                <a:gd name="f136" fmla="val 18"/>
                <a:gd name="f137" fmla="val 304"/>
                <a:gd name="f138" fmla="val 5"/>
                <a:gd name="f139" fmla="val 295"/>
                <a:gd name="f140" fmla="val 284"/>
                <a:gd name="f141" fmla="val 2"/>
                <a:gd name="f142" fmla="val 270"/>
                <a:gd name="f143" fmla="val 59"/>
                <a:gd name="f144" fmla="val 239"/>
                <a:gd name="f145" fmla="val 62"/>
                <a:gd name="f146" fmla="val 232"/>
                <a:gd name="f147" fmla="val 67"/>
                <a:gd name="f148" fmla="val 223"/>
                <a:gd name="f149" fmla="val 210"/>
                <a:gd name="f150" fmla="val 208"/>
                <a:gd name="f151" fmla="val 203"/>
                <a:gd name="f152" fmla="val 117"/>
                <a:gd name="f153" fmla="val 128"/>
                <a:gd name="f154" fmla="val 166"/>
                <a:gd name="f155" fmla="val 201"/>
                <a:gd name="f156" fmla="val 181"/>
                <a:gd name="f157" fmla="val 186"/>
                <a:gd name="f158" fmla="val 184"/>
                <a:gd name="f159" fmla="val 185"/>
                <a:gd name="f160" fmla="val 176"/>
                <a:gd name="f161" fmla="val 204"/>
                <a:gd name="f162" fmla="val 143"/>
                <a:gd name="f163" fmla="val 141"/>
                <a:gd name="f164" fmla="val 118"/>
                <a:gd name="f165" fmla="+- 0 0 -90"/>
                <a:gd name="f166" fmla="*/ f4 1 385"/>
                <a:gd name="f167" fmla="*/ f5 1 503"/>
                <a:gd name="f168" fmla="+- f8 0 f6"/>
                <a:gd name="f169" fmla="+- f7 0 f6"/>
                <a:gd name="f170" fmla="*/ f165 f0 1"/>
                <a:gd name="f171" fmla="*/ f169 1 385"/>
                <a:gd name="f172" fmla="*/ f168 1 503"/>
                <a:gd name="f173" fmla="*/ f170 1 f3"/>
                <a:gd name="f174" fmla="*/ 213 1 f171"/>
                <a:gd name="f175" fmla="*/ 89 1 f172"/>
                <a:gd name="f176" fmla="*/ 236 1 f171"/>
                <a:gd name="f177" fmla="*/ 64 1 f172"/>
                <a:gd name="f178" fmla="*/ 233 1 f171"/>
                <a:gd name="f179" fmla="*/ 31 1 f172"/>
                <a:gd name="f180" fmla="*/ 273 1 f171"/>
                <a:gd name="f181" fmla="*/ 16 1 f172"/>
                <a:gd name="f182" fmla="*/ 298 1 f171"/>
                <a:gd name="f183" fmla="*/ 0 1 f172"/>
                <a:gd name="f184" fmla="*/ 303 1 f171"/>
                <a:gd name="f185" fmla="*/ 327 1 f171"/>
                <a:gd name="f186" fmla="*/ 71 1 f172"/>
                <a:gd name="f187" fmla="*/ 323 1 f171"/>
                <a:gd name="f188" fmla="*/ 103 1 f172"/>
                <a:gd name="f189" fmla="*/ 116 1 f172"/>
                <a:gd name="f190" fmla="*/ 291 1 f171"/>
                <a:gd name="f191" fmla="*/ 123 1 f172"/>
                <a:gd name="f192" fmla="*/ 293 1 f171"/>
                <a:gd name="f193" fmla="*/ 165 1 f172"/>
                <a:gd name="f194" fmla="*/ 307 1 f171"/>
                <a:gd name="f195" fmla="*/ 195 1 f172"/>
                <a:gd name="f196" fmla="*/ 230 1 f172"/>
                <a:gd name="f197" fmla="*/ 248 1 f172"/>
                <a:gd name="f198" fmla="*/ 318 1 f171"/>
                <a:gd name="f199" fmla="*/ 258 1 f172"/>
                <a:gd name="f200" fmla="*/ 276 1 f171"/>
                <a:gd name="f201" fmla="*/ 264 1 f172"/>
                <a:gd name="f202" fmla="*/ 285 1 f171"/>
                <a:gd name="f203" fmla="*/ 307 1 f172"/>
                <a:gd name="f204" fmla="*/ 300 1 f171"/>
                <a:gd name="f205" fmla="*/ 319 1 f172"/>
                <a:gd name="f206" fmla="*/ 332 1 f171"/>
                <a:gd name="f207" fmla="*/ 315 1 f172"/>
                <a:gd name="f208" fmla="*/ 360 1 f171"/>
                <a:gd name="f209" fmla="*/ 359 1 f172"/>
                <a:gd name="f210" fmla="*/ 377 1 f171"/>
                <a:gd name="f211" fmla="*/ 382 1 f172"/>
                <a:gd name="f212" fmla="*/ 385 1 f171"/>
                <a:gd name="f213" fmla="*/ 411 1 f172"/>
                <a:gd name="f214" fmla="*/ 376 1 f171"/>
                <a:gd name="f215" fmla="*/ 429 1 f172"/>
                <a:gd name="f216" fmla="*/ 331 1 f171"/>
                <a:gd name="f217" fmla="*/ 426 1 f172"/>
                <a:gd name="f218" fmla="*/ 311 1 f171"/>
                <a:gd name="f219" fmla="*/ 444 1 f172"/>
                <a:gd name="f220" fmla="*/ 436 1 f172"/>
                <a:gd name="f221" fmla="*/ 440 1 f172"/>
                <a:gd name="f222" fmla="*/ 251 1 f171"/>
                <a:gd name="f223" fmla="*/ 433 1 f172"/>
                <a:gd name="f224" fmla="*/ 229 1 f171"/>
                <a:gd name="f225" fmla="*/ 424 1 f172"/>
                <a:gd name="f226" fmla="*/ 211 1 f171"/>
                <a:gd name="f227" fmla="*/ 216 1 f171"/>
                <a:gd name="f228" fmla="*/ 200 1 f171"/>
                <a:gd name="f229" fmla="*/ 459 1 f172"/>
                <a:gd name="f230" fmla="*/ 196 1 f171"/>
                <a:gd name="f231" fmla="*/ 478 1 f172"/>
                <a:gd name="f232" fmla="*/ 191 1 f171"/>
                <a:gd name="f233" fmla="*/ 493 1 f172"/>
                <a:gd name="f234" fmla="*/ 151 1 f171"/>
                <a:gd name="f235" fmla="*/ 500 1 f172"/>
                <a:gd name="f236" fmla="*/ 124 1 f171"/>
                <a:gd name="f237" fmla="*/ 491 1 f172"/>
                <a:gd name="f238" fmla="*/ 99 1 f171"/>
                <a:gd name="f239" fmla="*/ 473 1 f172"/>
                <a:gd name="f240" fmla="*/ 84 1 f171"/>
                <a:gd name="f241" fmla="*/ 483 1 f172"/>
                <a:gd name="f242" fmla="*/ 72 1 f171"/>
                <a:gd name="f243" fmla="*/ 496 1 f172"/>
                <a:gd name="f244" fmla="*/ 52 1 f171"/>
                <a:gd name="f245" fmla="*/ 29 1 f171"/>
                <a:gd name="f246" fmla="*/ 456 1 f172"/>
                <a:gd name="f247" fmla="*/ 20 1 f171"/>
                <a:gd name="f248" fmla="*/ 15 1 f171"/>
                <a:gd name="f249" fmla="*/ 406 1 f172"/>
                <a:gd name="f250" fmla="*/ 34 1 f171"/>
                <a:gd name="f251" fmla="*/ 384 1 f172"/>
                <a:gd name="f252" fmla="*/ 45 1 f171"/>
                <a:gd name="f253" fmla="*/ 357 1 f172"/>
                <a:gd name="f254" fmla="*/ 47 1 f171"/>
                <a:gd name="f255" fmla="*/ 334 1 f172"/>
                <a:gd name="f256" fmla="*/ 18 1 f171"/>
                <a:gd name="f257" fmla="*/ 304 1 f172"/>
                <a:gd name="f258" fmla="*/ 0 1 f171"/>
                <a:gd name="f259" fmla="*/ 284 1 f172"/>
                <a:gd name="f260" fmla="*/ 25 1 f171"/>
                <a:gd name="f261" fmla="*/ 270 1 f172"/>
                <a:gd name="f262" fmla="*/ 38 1 f171"/>
                <a:gd name="f263" fmla="*/ 255 1 f172"/>
                <a:gd name="f264" fmla="*/ 59 1 f171"/>
                <a:gd name="f265" fmla="*/ 239 1 f172"/>
                <a:gd name="f266" fmla="*/ 67 1 f171"/>
                <a:gd name="f267" fmla="*/ 223 1 f172"/>
                <a:gd name="f268" fmla="*/ 94 1 f171"/>
                <a:gd name="f269" fmla="*/ 208 1 f172"/>
                <a:gd name="f270" fmla="*/ 117 1 f171"/>
                <a:gd name="f271" fmla="*/ 203 1 f172"/>
                <a:gd name="f272" fmla="*/ 181 1 f171"/>
                <a:gd name="f273" fmla="*/ 184 1 f171"/>
                <a:gd name="f274" fmla="*/ 185 1 f172"/>
                <a:gd name="f275" fmla="*/ 199 1 f171"/>
                <a:gd name="f276" fmla="*/ 181 1 f172"/>
                <a:gd name="f277" fmla="*/ 204 1 f171"/>
                <a:gd name="f278" fmla="*/ 143 1 f172"/>
                <a:gd name="f279" fmla="*/ 118 1 f172"/>
                <a:gd name="f280" fmla="*/ f7 1 f171"/>
                <a:gd name="f281" fmla="*/ f8 1 f172"/>
                <a:gd name="f282" fmla="+- f173 0 f1"/>
                <a:gd name="f283" fmla="*/ f258 f166 1"/>
                <a:gd name="f284" fmla="*/ f280 f166 1"/>
                <a:gd name="f285" fmla="*/ f281 f167 1"/>
                <a:gd name="f286" fmla="*/ f183 f167 1"/>
                <a:gd name="f287" fmla="*/ f174 f166 1"/>
                <a:gd name="f288" fmla="*/ f175 f167 1"/>
                <a:gd name="f289" fmla="*/ f176 f166 1"/>
                <a:gd name="f290" fmla="*/ f177 f167 1"/>
                <a:gd name="f291" fmla="*/ f178 f166 1"/>
                <a:gd name="f292" fmla="*/ f179 f167 1"/>
                <a:gd name="f293" fmla="*/ f180 f166 1"/>
                <a:gd name="f294" fmla="*/ f181 f167 1"/>
                <a:gd name="f295" fmla="*/ f182 f166 1"/>
                <a:gd name="f296" fmla="*/ f184 f166 1"/>
                <a:gd name="f297" fmla="*/ f185 f166 1"/>
                <a:gd name="f298" fmla="*/ f186 f167 1"/>
                <a:gd name="f299" fmla="*/ f187 f166 1"/>
                <a:gd name="f300" fmla="*/ f188 f167 1"/>
                <a:gd name="f301" fmla="*/ f189 f167 1"/>
                <a:gd name="f302" fmla="*/ f190 f166 1"/>
                <a:gd name="f303" fmla="*/ f191 f167 1"/>
                <a:gd name="f304" fmla="*/ f192 f166 1"/>
                <a:gd name="f305" fmla="*/ f193 f167 1"/>
                <a:gd name="f306" fmla="*/ f194 f166 1"/>
                <a:gd name="f307" fmla="*/ f195 f167 1"/>
                <a:gd name="f308" fmla="*/ f196 f167 1"/>
                <a:gd name="f309" fmla="*/ f197 f167 1"/>
                <a:gd name="f310" fmla="*/ f198 f166 1"/>
                <a:gd name="f311" fmla="*/ f199 f167 1"/>
                <a:gd name="f312" fmla="*/ f200 f166 1"/>
                <a:gd name="f313" fmla="*/ f201 f167 1"/>
                <a:gd name="f314" fmla="*/ f202 f166 1"/>
                <a:gd name="f315" fmla="*/ f203 f167 1"/>
                <a:gd name="f316" fmla="*/ f204 f166 1"/>
                <a:gd name="f317" fmla="*/ f205 f167 1"/>
                <a:gd name="f318" fmla="*/ f206 f166 1"/>
                <a:gd name="f319" fmla="*/ f207 f167 1"/>
                <a:gd name="f320" fmla="*/ f208 f166 1"/>
                <a:gd name="f321" fmla="*/ f209 f167 1"/>
                <a:gd name="f322" fmla="*/ f210 f166 1"/>
                <a:gd name="f323" fmla="*/ f211 f167 1"/>
                <a:gd name="f324" fmla="*/ f212 f166 1"/>
                <a:gd name="f325" fmla="*/ f213 f167 1"/>
                <a:gd name="f326" fmla="*/ f214 f166 1"/>
                <a:gd name="f327" fmla="*/ f215 f167 1"/>
                <a:gd name="f328" fmla="*/ f216 f166 1"/>
                <a:gd name="f329" fmla="*/ f217 f167 1"/>
                <a:gd name="f330" fmla="*/ f218 f166 1"/>
                <a:gd name="f331" fmla="*/ f219 f167 1"/>
                <a:gd name="f332" fmla="*/ f220 f167 1"/>
                <a:gd name="f333" fmla="*/ f221 f167 1"/>
                <a:gd name="f334" fmla="*/ f222 f166 1"/>
                <a:gd name="f335" fmla="*/ f223 f167 1"/>
                <a:gd name="f336" fmla="*/ f224 f166 1"/>
                <a:gd name="f337" fmla="*/ f225 f167 1"/>
                <a:gd name="f338" fmla="*/ f226 f166 1"/>
                <a:gd name="f339" fmla="*/ f227 f166 1"/>
                <a:gd name="f340" fmla="*/ f228 f166 1"/>
                <a:gd name="f341" fmla="*/ f229 f167 1"/>
                <a:gd name="f342" fmla="*/ f230 f166 1"/>
                <a:gd name="f343" fmla="*/ f231 f167 1"/>
                <a:gd name="f344" fmla="*/ f232 f166 1"/>
                <a:gd name="f345" fmla="*/ f233 f167 1"/>
                <a:gd name="f346" fmla="*/ f234 f166 1"/>
                <a:gd name="f347" fmla="*/ f235 f167 1"/>
                <a:gd name="f348" fmla="*/ f236 f166 1"/>
                <a:gd name="f349" fmla="*/ f237 f167 1"/>
                <a:gd name="f350" fmla="*/ f238 f166 1"/>
                <a:gd name="f351" fmla="*/ f239 f167 1"/>
                <a:gd name="f352" fmla="*/ f240 f166 1"/>
                <a:gd name="f353" fmla="*/ f241 f167 1"/>
                <a:gd name="f354" fmla="*/ f242 f166 1"/>
                <a:gd name="f355" fmla="*/ f243 f167 1"/>
                <a:gd name="f356" fmla="*/ f244 f166 1"/>
                <a:gd name="f357" fmla="*/ f245 f166 1"/>
                <a:gd name="f358" fmla="*/ f246 f167 1"/>
                <a:gd name="f359" fmla="*/ f247 f166 1"/>
                <a:gd name="f360" fmla="*/ f248 f166 1"/>
                <a:gd name="f361" fmla="*/ f249 f167 1"/>
                <a:gd name="f362" fmla="*/ f250 f166 1"/>
                <a:gd name="f363" fmla="*/ f251 f167 1"/>
                <a:gd name="f364" fmla="*/ f252 f166 1"/>
                <a:gd name="f365" fmla="*/ f253 f167 1"/>
                <a:gd name="f366" fmla="*/ f254 f166 1"/>
                <a:gd name="f367" fmla="*/ f255 f167 1"/>
                <a:gd name="f368" fmla="*/ f256 f166 1"/>
                <a:gd name="f369" fmla="*/ f257 f167 1"/>
                <a:gd name="f370" fmla="*/ f259 f167 1"/>
                <a:gd name="f371" fmla="*/ f260 f166 1"/>
                <a:gd name="f372" fmla="*/ f261 f167 1"/>
                <a:gd name="f373" fmla="*/ f262 f166 1"/>
                <a:gd name="f374" fmla="*/ f263 f167 1"/>
                <a:gd name="f375" fmla="*/ f264 f166 1"/>
                <a:gd name="f376" fmla="*/ f265 f167 1"/>
                <a:gd name="f377" fmla="*/ f266 f166 1"/>
                <a:gd name="f378" fmla="*/ f267 f167 1"/>
                <a:gd name="f379" fmla="*/ f268 f166 1"/>
                <a:gd name="f380" fmla="*/ f269 f167 1"/>
                <a:gd name="f381" fmla="*/ f270 f166 1"/>
                <a:gd name="f382" fmla="*/ f271 f167 1"/>
                <a:gd name="f383" fmla="*/ f272 f166 1"/>
                <a:gd name="f384" fmla="*/ f273 f166 1"/>
                <a:gd name="f385" fmla="*/ f274 f167 1"/>
                <a:gd name="f386" fmla="*/ f275 f166 1"/>
                <a:gd name="f387" fmla="*/ f276 f167 1"/>
                <a:gd name="f388" fmla="*/ f277 f166 1"/>
                <a:gd name="f389" fmla="*/ f278 f167 1"/>
                <a:gd name="f390" fmla="*/ f279 f16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2">
                  <a:pos x="f287" y="f288"/>
                </a:cxn>
                <a:cxn ang="f282">
                  <a:pos x="f289" y="f290"/>
                </a:cxn>
                <a:cxn ang="f282">
                  <a:pos x="f291" y="f292"/>
                </a:cxn>
                <a:cxn ang="f282">
                  <a:pos x="f293" y="f294"/>
                </a:cxn>
                <a:cxn ang="f282">
                  <a:pos x="f295" y="f286"/>
                </a:cxn>
                <a:cxn ang="f282">
                  <a:pos x="f296" y="f292"/>
                </a:cxn>
                <a:cxn ang="f282">
                  <a:pos x="f297" y="f298"/>
                </a:cxn>
                <a:cxn ang="f282">
                  <a:pos x="f299" y="f300"/>
                </a:cxn>
                <a:cxn ang="f282">
                  <a:pos x="f296" y="f301"/>
                </a:cxn>
                <a:cxn ang="f282">
                  <a:pos x="f302" y="f303"/>
                </a:cxn>
                <a:cxn ang="f282">
                  <a:pos x="f304" y="f305"/>
                </a:cxn>
                <a:cxn ang="f282">
                  <a:pos x="f306" y="f307"/>
                </a:cxn>
                <a:cxn ang="f282">
                  <a:pos x="f299" y="f308"/>
                </a:cxn>
                <a:cxn ang="f282">
                  <a:pos x="f297" y="f309"/>
                </a:cxn>
                <a:cxn ang="f282">
                  <a:pos x="f310" y="f311"/>
                </a:cxn>
                <a:cxn ang="f282">
                  <a:pos x="f302" y="f309"/>
                </a:cxn>
                <a:cxn ang="f282">
                  <a:pos x="f312" y="f313"/>
                </a:cxn>
                <a:cxn ang="f282">
                  <a:pos x="f314" y="f315"/>
                </a:cxn>
                <a:cxn ang="f282">
                  <a:pos x="f316" y="f317"/>
                </a:cxn>
                <a:cxn ang="f282">
                  <a:pos x="f318" y="f319"/>
                </a:cxn>
                <a:cxn ang="f282">
                  <a:pos x="f320" y="f321"/>
                </a:cxn>
                <a:cxn ang="f282">
                  <a:pos x="f322" y="f323"/>
                </a:cxn>
                <a:cxn ang="f282">
                  <a:pos x="f324" y="f325"/>
                </a:cxn>
                <a:cxn ang="f282">
                  <a:pos x="f326" y="f327"/>
                </a:cxn>
                <a:cxn ang="f282">
                  <a:pos x="f328" y="f329"/>
                </a:cxn>
                <a:cxn ang="f282">
                  <a:pos x="f330" y="f331"/>
                </a:cxn>
                <a:cxn ang="f282">
                  <a:pos x="f304" y="f332"/>
                </a:cxn>
                <a:cxn ang="f282">
                  <a:pos x="f312" y="f333"/>
                </a:cxn>
                <a:cxn ang="f282">
                  <a:pos x="f334" y="f335"/>
                </a:cxn>
                <a:cxn ang="f282">
                  <a:pos x="f336" y="f337"/>
                </a:cxn>
                <a:cxn ang="f282">
                  <a:pos x="f338" y="f335"/>
                </a:cxn>
                <a:cxn ang="f282">
                  <a:pos x="f339" y="f331"/>
                </a:cxn>
                <a:cxn ang="f282">
                  <a:pos x="f340" y="f341"/>
                </a:cxn>
                <a:cxn ang="f282">
                  <a:pos x="f342" y="f343"/>
                </a:cxn>
                <a:cxn ang="f282">
                  <a:pos x="f344" y="f345"/>
                </a:cxn>
                <a:cxn ang="f282">
                  <a:pos x="f346" y="f347"/>
                </a:cxn>
                <a:cxn ang="f282">
                  <a:pos x="f348" y="f349"/>
                </a:cxn>
                <a:cxn ang="f282">
                  <a:pos x="f350" y="f351"/>
                </a:cxn>
                <a:cxn ang="f282">
                  <a:pos x="f352" y="f353"/>
                </a:cxn>
                <a:cxn ang="f282">
                  <a:pos x="f354" y="f355"/>
                </a:cxn>
                <a:cxn ang="f282">
                  <a:pos x="f356" y="f343"/>
                </a:cxn>
                <a:cxn ang="f282">
                  <a:pos x="f357" y="f358"/>
                </a:cxn>
                <a:cxn ang="f282">
                  <a:pos x="f359" y="f337"/>
                </a:cxn>
                <a:cxn ang="f282">
                  <a:pos x="f360" y="f361"/>
                </a:cxn>
                <a:cxn ang="f282">
                  <a:pos x="f362" y="f363"/>
                </a:cxn>
                <a:cxn ang="f282">
                  <a:pos x="f364" y="f365"/>
                </a:cxn>
                <a:cxn ang="f282">
                  <a:pos x="f366" y="f367"/>
                </a:cxn>
                <a:cxn ang="f282">
                  <a:pos x="f368" y="f369"/>
                </a:cxn>
                <a:cxn ang="f282">
                  <a:pos x="f283" y="f370"/>
                </a:cxn>
                <a:cxn ang="f282">
                  <a:pos x="f371" y="f372"/>
                </a:cxn>
                <a:cxn ang="f282">
                  <a:pos x="f373" y="f374"/>
                </a:cxn>
                <a:cxn ang="f282">
                  <a:pos x="f375" y="f376"/>
                </a:cxn>
                <a:cxn ang="f282">
                  <a:pos x="f377" y="f378"/>
                </a:cxn>
                <a:cxn ang="f282">
                  <a:pos x="f379" y="f380"/>
                </a:cxn>
                <a:cxn ang="f282">
                  <a:pos x="f381" y="f382"/>
                </a:cxn>
                <a:cxn ang="f282">
                  <a:pos x="f346" y="f380"/>
                </a:cxn>
                <a:cxn ang="f282">
                  <a:pos x="f383" y="f307"/>
                </a:cxn>
                <a:cxn ang="f282">
                  <a:pos x="f384" y="f385"/>
                </a:cxn>
                <a:cxn ang="f282">
                  <a:pos x="f386" y="f387"/>
                </a:cxn>
                <a:cxn ang="f282">
                  <a:pos x="f388" y="f389"/>
                </a:cxn>
                <a:cxn ang="f282">
                  <a:pos x="f386" y="f390"/>
                </a:cxn>
              </a:cxnLst>
              <a:rect l="f283" t="f286" r="f284" b="f285"/>
              <a:pathLst>
                <a:path w="385" h="503">
                  <a:moveTo>
                    <a:pt x="f9" y="f10"/>
                  </a:move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3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6"/>
                  </a:lnTo>
                  <a:lnTo>
                    <a:pt x="f25" y="f6"/>
                  </a:lnTo>
                  <a:lnTo>
                    <a:pt x="f26" y="f27"/>
                  </a:lnTo>
                  <a:lnTo>
                    <a:pt x="f28" y="f19"/>
                  </a:lnTo>
                  <a:lnTo>
                    <a:pt x="f29" y="f30"/>
                  </a:lnTo>
                  <a:lnTo>
                    <a:pt x="f31" y="f14"/>
                  </a:lnTo>
                  <a:lnTo>
                    <a:pt x="f31" y="f12"/>
                  </a:lnTo>
                  <a:lnTo>
                    <a:pt x="f32" y="f33"/>
                  </a:lnTo>
                  <a:lnTo>
                    <a:pt x="f34" y="f35"/>
                  </a:lnTo>
                  <a:lnTo>
                    <a:pt x="f28" y="f35"/>
                  </a:lnTo>
                  <a:lnTo>
                    <a:pt x="f36" y="f35"/>
                  </a:lnTo>
                  <a:lnTo>
                    <a:pt x="f37" y="f38"/>
                  </a:lnTo>
                  <a:lnTo>
                    <a:pt x="f36" y="f39"/>
                  </a:lnTo>
                  <a:lnTo>
                    <a:pt x="f40" y="f41"/>
                  </a:lnTo>
                  <a:lnTo>
                    <a:pt x="f42" y="f43"/>
                  </a:lnTo>
                  <a:lnTo>
                    <a:pt x="f44" y="f45"/>
                  </a:lnTo>
                  <a:lnTo>
                    <a:pt x="f46" y="f47"/>
                  </a:lnTo>
                  <a:lnTo>
                    <a:pt x="f32" y="f48"/>
                  </a:lnTo>
                  <a:lnTo>
                    <a:pt x="f49" y="f50"/>
                  </a:lnTo>
                  <a:lnTo>
                    <a:pt x="f31" y="f51"/>
                  </a:lnTo>
                  <a:lnTo>
                    <a:pt x="f32" y="f52"/>
                  </a:lnTo>
                  <a:lnTo>
                    <a:pt x="f29" y="f53"/>
                  </a:lnTo>
                  <a:lnTo>
                    <a:pt x="f42" y="f51"/>
                  </a:lnTo>
                  <a:lnTo>
                    <a:pt x="f37" y="f51"/>
                  </a:lnTo>
                  <a:lnTo>
                    <a:pt x="f54" y="f52"/>
                  </a:lnTo>
                  <a:lnTo>
                    <a:pt x="f55" y="f56"/>
                  </a:lnTo>
                  <a:lnTo>
                    <a:pt x="f57" y="f58"/>
                  </a:lnTo>
                  <a:lnTo>
                    <a:pt x="f57" y="f44"/>
                  </a:lnTo>
                  <a:lnTo>
                    <a:pt x="f40" y="f59"/>
                  </a:lnTo>
                  <a:lnTo>
                    <a:pt x="f26" y="f60"/>
                  </a:lnTo>
                  <a:lnTo>
                    <a:pt x="f46" y="f59"/>
                  </a:lnTo>
                  <a:lnTo>
                    <a:pt x="f61" y="f62"/>
                  </a:lnTo>
                  <a:lnTo>
                    <a:pt x="f63" y="f64"/>
                  </a:lnTo>
                  <a:lnTo>
                    <a:pt x="f2" y="f65"/>
                  </a:lnTo>
                  <a:lnTo>
                    <a:pt x="f66" y="f67"/>
                  </a:lnTo>
                  <a:lnTo>
                    <a:pt x="f68" y="f69"/>
                  </a:lnTo>
                  <a:lnTo>
                    <a:pt x="f68" y="f70"/>
                  </a:lnTo>
                  <a:lnTo>
                    <a:pt x="f7" y="f71"/>
                  </a:lnTo>
                  <a:lnTo>
                    <a:pt x="f7" y="f72"/>
                  </a:lnTo>
                  <a:lnTo>
                    <a:pt x="f73" y="f74"/>
                  </a:lnTo>
                  <a:lnTo>
                    <a:pt x="f75" y="f76"/>
                  </a:lnTo>
                  <a:lnTo>
                    <a:pt x="f49" y="f77"/>
                  </a:lnTo>
                  <a:lnTo>
                    <a:pt x="f32" y="f78"/>
                  </a:lnTo>
                  <a:lnTo>
                    <a:pt x="f34" y="f79"/>
                  </a:lnTo>
                  <a:lnTo>
                    <a:pt x="f36" y="f80"/>
                  </a:lnTo>
                  <a:lnTo>
                    <a:pt x="f40" y="f81"/>
                  </a:lnTo>
                  <a:lnTo>
                    <a:pt x="f82" y="f81"/>
                  </a:lnTo>
                  <a:lnTo>
                    <a:pt x="f55" y="f78"/>
                  </a:lnTo>
                  <a:lnTo>
                    <a:pt x="f20" y="f78"/>
                  </a:lnTo>
                  <a:lnTo>
                    <a:pt x="f83" y="f84"/>
                  </a:lnTo>
                  <a:lnTo>
                    <a:pt x="f15" y="f74"/>
                  </a:lnTo>
                  <a:lnTo>
                    <a:pt x="f85" y="f76"/>
                  </a:lnTo>
                  <a:lnTo>
                    <a:pt x="f86" y="f74"/>
                  </a:lnTo>
                  <a:lnTo>
                    <a:pt x="f87" y="f84"/>
                  </a:lnTo>
                  <a:lnTo>
                    <a:pt x="f11" y="f88"/>
                  </a:lnTo>
                  <a:lnTo>
                    <a:pt x="f89" y="f79"/>
                  </a:lnTo>
                  <a:lnTo>
                    <a:pt x="f11" y="f90"/>
                  </a:lnTo>
                  <a:lnTo>
                    <a:pt x="f91" y="f92"/>
                  </a:lnTo>
                  <a:lnTo>
                    <a:pt x="f93" y="f94"/>
                  </a:lnTo>
                  <a:lnTo>
                    <a:pt x="f93" y="f95"/>
                  </a:lnTo>
                  <a:lnTo>
                    <a:pt x="f93" y="f96"/>
                  </a:lnTo>
                  <a:lnTo>
                    <a:pt x="f97" y="f98"/>
                  </a:lnTo>
                  <a:lnTo>
                    <a:pt x="f99" y="f100"/>
                  </a:lnTo>
                  <a:lnTo>
                    <a:pt x="f101" y="f102"/>
                  </a:lnTo>
                  <a:lnTo>
                    <a:pt x="f103" y="f8"/>
                  </a:lnTo>
                  <a:lnTo>
                    <a:pt x="f104" y="f105"/>
                  </a:lnTo>
                  <a:lnTo>
                    <a:pt x="f106" y="f107"/>
                  </a:lnTo>
                  <a:lnTo>
                    <a:pt x="f108" y="f109"/>
                  </a:lnTo>
                  <a:lnTo>
                    <a:pt x="f110" y="f95"/>
                  </a:lnTo>
                  <a:lnTo>
                    <a:pt x="f111" y="f112"/>
                  </a:lnTo>
                  <a:lnTo>
                    <a:pt x="f113" y="f105"/>
                  </a:lnTo>
                  <a:lnTo>
                    <a:pt x="f114" y="f115"/>
                  </a:lnTo>
                  <a:lnTo>
                    <a:pt x="f116" y="f96"/>
                  </a:lnTo>
                  <a:lnTo>
                    <a:pt x="f117" y="f95"/>
                  </a:lnTo>
                  <a:lnTo>
                    <a:pt x="f118" y="f109"/>
                  </a:lnTo>
                  <a:lnTo>
                    <a:pt x="f119" y="f120"/>
                  </a:lnTo>
                  <a:lnTo>
                    <a:pt x="f121" y="f81"/>
                  </a:lnTo>
                  <a:lnTo>
                    <a:pt x="f21" y="f76"/>
                  </a:lnTo>
                  <a:lnTo>
                    <a:pt x="f122" y="f72"/>
                  </a:lnTo>
                  <a:lnTo>
                    <a:pt x="f122" y="f123"/>
                  </a:lnTo>
                  <a:lnTo>
                    <a:pt x="f21" y="f124"/>
                  </a:lnTo>
                  <a:lnTo>
                    <a:pt x="f125" y="f126"/>
                  </a:lnTo>
                  <a:lnTo>
                    <a:pt x="f127" y="f128"/>
                  </a:lnTo>
                  <a:lnTo>
                    <a:pt x="f129" y="f130"/>
                  </a:lnTo>
                  <a:lnTo>
                    <a:pt x="f131" y="f132"/>
                  </a:lnTo>
                  <a:lnTo>
                    <a:pt x="f133" y="f134"/>
                  </a:lnTo>
                  <a:lnTo>
                    <a:pt x="f125" y="f135"/>
                  </a:lnTo>
                  <a:lnTo>
                    <a:pt x="f136" y="f137"/>
                  </a:lnTo>
                  <a:lnTo>
                    <a:pt x="f138" y="f139"/>
                  </a:lnTo>
                  <a:lnTo>
                    <a:pt x="f6" y="f140"/>
                  </a:lnTo>
                  <a:lnTo>
                    <a:pt x="f141" y="f58"/>
                  </a:lnTo>
                  <a:lnTo>
                    <a:pt x="f121" y="f142"/>
                  </a:lnTo>
                  <a:lnTo>
                    <a:pt x="f118" y="f142"/>
                  </a:lnTo>
                  <a:lnTo>
                    <a:pt x="f118" y="f52"/>
                  </a:lnTo>
                  <a:lnTo>
                    <a:pt x="f129" y="f51"/>
                  </a:lnTo>
                  <a:lnTo>
                    <a:pt x="f143" y="f144"/>
                  </a:lnTo>
                  <a:lnTo>
                    <a:pt x="f145" y="f146"/>
                  </a:lnTo>
                  <a:lnTo>
                    <a:pt x="f147" y="f148"/>
                  </a:lnTo>
                  <a:lnTo>
                    <a:pt x="f113" y="f149"/>
                  </a:lnTo>
                  <a:lnTo>
                    <a:pt x="f110" y="f150"/>
                  </a:lnTo>
                  <a:lnTo>
                    <a:pt x="f108" y="f151"/>
                  </a:lnTo>
                  <a:lnTo>
                    <a:pt x="f152" y="f151"/>
                  </a:lnTo>
                  <a:lnTo>
                    <a:pt x="f153" y="f151"/>
                  </a:lnTo>
                  <a:lnTo>
                    <a:pt x="f101" y="f150"/>
                  </a:lnTo>
                  <a:lnTo>
                    <a:pt x="f154" y="f155"/>
                  </a:lnTo>
                  <a:lnTo>
                    <a:pt x="f156" y="f45"/>
                  </a:lnTo>
                  <a:lnTo>
                    <a:pt x="f157" y="f45"/>
                  </a:lnTo>
                  <a:lnTo>
                    <a:pt x="f158" y="f159"/>
                  </a:lnTo>
                  <a:lnTo>
                    <a:pt x="f97" y="f160"/>
                  </a:lnTo>
                  <a:lnTo>
                    <a:pt x="f9" y="f156"/>
                  </a:lnTo>
                  <a:lnTo>
                    <a:pt x="f150" y="f160"/>
                  </a:lnTo>
                  <a:lnTo>
                    <a:pt x="f161" y="f162"/>
                  </a:lnTo>
                  <a:lnTo>
                    <a:pt x="f9" y="f163"/>
                  </a:lnTo>
                  <a:lnTo>
                    <a:pt x="f9" y="f164"/>
                  </a:lnTo>
                  <a:lnTo>
                    <a:pt x="f9" y="f10"/>
                  </a:lnTo>
                  <a:close/>
                </a:path>
              </a:pathLst>
            </a:custGeom>
            <a:solidFill>
              <a:srgbClr val="D9D9D9"/>
            </a:solidFill>
            <a:ln w="6345" cap="flat">
              <a:solidFill>
                <a:srgbClr val="A6A6A6"/>
              </a:solidFill>
              <a:prstDash val="solid"/>
              <a:round/>
            </a:ln>
          </p:spPr>
          <p:txBody>
            <a:bodyPr vert="horz" wrap="square" lIns="68580" tIns="34290" rIns="68580" bIns="3429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290" rtl="0" fontAlgn="auto" hangingPunct="1">
                <a:lnSpc>
                  <a:spcPct val="100000"/>
                </a:lnSpc>
                <a:spcBef>
                  <a:spcPts val="50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000" b="0" i="0" u="none" strike="noStrike" kern="0" cap="none" spc="0" baseline="0">
                <a:solidFill>
                  <a:srgbClr val="133B9C"/>
                </a:solidFill>
                <a:highlight>
                  <a:srgbClr val="008556"/>
                </a:highlight>
                <a:uFillTx/>
                <a:latin typeface="Arial"/>
              </a:endParaRPr>
            </a:p>
          </p:txBody>
        </p:sp>
        <p:sp>
          <p:nvSpPr>
            <p:cNvPr id="40" name="Freeform 165">
              <a:extLst>
                <a:ext uri="{FF2B5EF4-FFF2-40B4-BE49-F238E27FC236}">
                  <a16:creationId xmlns:a16="http://schemas.microsoft.com/office/drawing/2014/main" id="{F5405CAF-836A-FCFA-1658-CE830E24248B}"/>
                </a:ext>
              </a:extLst>
            </p:cNvPr>
            <p:cNvSpPr/>
            <p:nvPr/>
          </p:nvSpPr>
          <p:spPr>
            <a:xfrm>
              <a:off x="4403503" y="1709077"/>
              <a:ext cx="392862" cy="347654"/>
            </a:xfrm>
            <a:custGeom>
              <a:avLst/>
              <a:gdLst>
                <a:gd name="f0" fmla="val 10800000"/>
                <a:gd name="f1" fmla="val 5400000"/>
                <a:gd name="f2" fmla="val 360"/>
                <a:gd name="f3" fmla="val 180"/>
                <a:gd name="f4" fmla="val w"/>
                <a:gd name="f5" fmla="val h"/>
                <a:gd name="f6" fmla="val 0"/>
                <a:gd name="f7" fmla="val 420"/>
                <a:gd name="f8" fmla="val 415"/>
                <a:gd name="f9" fmla="val 53"/>
                <a:gd name="f10" fmla="val 75"/>
                <a:gd name="f11" fmla="val 69"/>
                <a:gd name="f12" fmla="val 82"/>
                <a:gd name="f13" fmla="val 85"/>
                <a:gd name="f14" fmla="val 92"/>
                <a:gd name="f15" fmla="val 102"/>
                <a:gd name="f16" fmla="val 77"/>
                <a:gd name="f17" fmla="val 112"/>
                <a:gd name="f18" fmla="val 115"/>
                <a:gd name="f19" fmla="val 129"/>
                <a:gd name="f20" fmla="val 84"/>
                <a:gd name="f21" fmla="val 140"/>
                <a:gd name="f22" fmla="val 97"/>
                <a:gd name="f23" fmla="val 127"/>
                <a:gd name="f24" fmla="val 104"/>
                <a:gd name="f25" fmla="val 120"/>
                <a:gd name="f26" fmla="val 116"/>
                <a:gd name="f27" fmla="val 107"/>
                <a:gd name="f28" fmla="val 95"/>
                <a:gd name="f29" fmla="val 89"/>
                <a:gd name="f30" fmla="val 145"/>
                <a:gd name="f31" fmla="val 80"/>
                <a:gd name="f32" fmla="val 156"/>
                <a:gd name="f33" fmla="val 62"/>
                <a:gd name="f34" fmla="val 160"/>
                <a:gd name="f35" fmla="val 55"/>
                <a:gd name="f36" fmla="val 161"/>
                <a:gd name="f37" fmla="val 18"/>
                <a:gd name="f38" fmla="val 172"/>
                <a:gd name="f39" fmla="val 13"/>
                <a:gd name="f40" fmla="val 183"/>
                <a:gd name="f41" fmla="val 15"/>
                <a:gd name="f42" fmla="val 28"/>
                <a:gd name="f43" fmla="val 181"/>
                <a:gd name="f44" fmla="val 48"/>
                <a:gd name="f45" fmla="val 194"/>
                <a:gd name="f46" fmla="val 58"/>
                <a:gd name="f47" fmla="val 203"/>
                <a:gd name="f48" fmla="val 65"/>
                <a:gd name="f49" fmla="val 206"/>
                <a:gd name="f50" fmla="val 73"/>
                <a:gd name="f51" fmla="val 216"/>
                <a:gd name="f52" fmla="val 78"/>
                <a:gd name="f53" fmla="val 236"/>
                <a:gd name="f54" fmla="val 248"/>
                <a:gd name="f55" fmla="val 60"/>
                <a:gd name="f56" fmla="val 256"/>
                <a:gd name="f57" fmla="val 49"/>
                <a:gd name="f58" fmla="val 253"/>
                <a:gd name="f59" fmla="val 40"/>
                <a:gd name="f60" fmla="val 266"/>
                <a:gd name="f61" fmla="val 273"/>
                <a:gd name="f62" fmla="val 4"/>
                <a:gd name="f63" fmla="val 286"/>
                <a:gd name="f64" fmla="val 298"/>
                <a:gd name="f65" fmla="val 306"/>
                <a:gd name="f66" fmla="val 20"/>
                <a:gd name="f67" fmla="val 317"/>
                <a:gd name="f68" fmla="val 33"/>
                <a:gd name="f69" fmla="val 331"/>
                <a:gd name="f70" fmla="val 42"/>
                <a:gd name="f71" fmla="val 335"/>
                <a:gd name="f72" fmla="val 333"/>
                <a:gd name="f73" fmla="val 87"/>
                <a:gd name="f74" fmla="val 100"/>
                <a:gd name="f75" fmla="val 328"/>
                <a:gd name="f76" fmla="val 322"/>
                <a:gd name="f77" fmla="val 169"/>
                <a:gd name="f78" fmla="val 185"/>
                <a:gd name="f79" fmla="val 202"/>
                <a:gd name="f80" fmla="val 207"/>
                <a:gd name="f81" fmla="val 347"/>
                <a:gd name="f82" fmla="val 196"/>
                <a:gd name="f83" fmla="val 355"/>
                <a:gd name="f84" fmla="val 366"/>
                <a:gd name="f85" fmla="val 192"/>
                <a:gd name="f86" fmla="val 362"/>
                <a:gd name="f87" fmla="val 227"/>
                <a:gd name="f88" fmla="val 367"/>
                <a:gd name="f89" fmla="val 242"/>
                <a:gd name="f90" fmla="val 254"/>
                <a:gd name="f91" fmla="val 341"/>
                <a:gd name="f92" fmla="val 267"/>
                <a:gd name="f93" fmla="val 338"/>
                <a:gd name="f94" fmla="val 279"/>
                <a:gd name="f95" fmla="val 342"/>
                <a:gd name="f96" fmla="val 296"/>
                <a:gd name="f97" fmla="val 353"/>
                <a:gd name="f98" fmla="val 303"/>
                <a:gd name="f99" fmla="val 371"/>
                <a:gd name="f100" fmla="val 299"/>
                <a:gd name="f101" fmla="val 323"/>
                <a:gd name="f102" fmla="val 375"/>
                <a:gd name="f103" fmla="val 330"/>
                <a:gd name="f104" fmla="val 387"/>
                <a:gd name="f105" fmla="val 395"/>
                <a:gd name="f106" fmla="val 348"/>
                <a:gd name="f107" fmla="val 405"/>
                <a:gd name="f108" fmla="val 358"/>
                <a:gd name="f109" fmla="val 412"/>
                <a:gd name="f110" fmla="val 368"/>
                <a:gd name="f111" fmla="val 373"/>
                <a:gd name="f112" fmla="val 411"/>
                <a:gd name="f113" fmla="val 378"/>
                <a:gd name="f114" fmla="val 383"/>
                <a:gd name="f115" fmla="val 351"/>
                <a:gd name="f116" fmla="val 381"/>
                <a:gd name="f117" fmla="val 321"/>
                <a:gd name="f118" fmla="val 370"/>
                <a:gd name="f119" fmla="val 311"/>
                <a:gd name="f120" fmla="val 304"/>
                <a:gd name="f121" fmla="val 291"/>
                <a:gd name="f122" fmla="val 361"/>
                <a:gd name="f123" fmla="val 363"/>
                <a:gd name="f124" fmla="val 276"/>
                <a:gd name="f125" fmla="val 263"/>
                <a:gd name="f126" fmla="val 243"/>
                <a:gd name="f127" fmla="val 350"/>
                <a:gd name="f128" fmla="val 226"/>
                <a:gd name="f129" fmla="val 212"/>
                <a:gd name="f130" fmla="val 326"/>
                <a:gd name="f131" fmla="val 187"/>
                <a:gd name="f132" fmla="val 174"/>
                <a:gd name="f133" fmla="val 165"/>
                <a:gd name="f134" fmla="val 316"/>
                <a:gd name="f135" fmla="val 319"/>
                <a:gd name="f136" fmla="val 149"/>
                <a:gd name="f137" fmla="val 142"/>
                <a:gd name="f138" fmla="val 134"/>
                <a:gd name="f139" fmla="val 388"/>
                <a:gd name="f140" fmla="val 122"/>
                <a:gd name="f141" fmla="val 400"/>
                <a:gd name="f142" fmla="val 109"/>
                <a:gd name="f143" fmla="val 410"/>
                <a:gd name="f144" fmla="val 64"/>
                <a:gd name="f145" fmla="val 57"/>
                <a:gd name="f146" fmla="val 44"/>
                <a:gd name="f147" fmla="val 35"/>
                <a:gd name="f148" fmla="val 29"/>
                <a:gd name="f149" fmla="val 22"/>
                <a:gd name="f150" fmla="val 313"/>
                <a:gd name="f151" fmla="val 9"/>
                <a:gd name="f152" fmla="val 308"/>
                <a:gd name="f153" fmla="val 3"/>
                <a:gd name="f154" fmla="val 272"/>
                <a:gd name="f155" fmla="val 261"/>
                <a:gd name="f156" fmla="val 252"/>
                <a:gd name="f157" fmla="val 17"/>
                <a:gd name="f158" fmla="val 259"/>
                <a:gd name="f159" fmla="val 239"/>
                <a:gd name="f160" fmla="val 199"/>
                <a:gd name="f161" fmla="val 182"/>
                <a:gd name="f162" fmla="val 147"/>
                <a:gd name="f163" fmla="val 136"/>
                <a:gd name="f164" fmla="val 132"/>
                <a:gd name="f165" fmla="val 125"/>
                <a:gd name="f166" fmla="val 96"/>
                <a:gd name="f167" fmla="+- 0 0 -90"/>
                <a:gd name="f168" fmla="*/ f4 1 420"/>
                <a:gd name="f169" fmla="*/ f5 1 415"/>
                <a:gd name="f170" fmla="+- f8 0 f6"/>
                <a:gd name="f171" fmla="+- f7 0 f6"/>
                <a:gd name="f172" fmla="*/ f167 f0 1"/>
                <a:gd name="f173" fmla="*/ f171 1 420"/>
                <a:gd name="f174" fmla="*/ f170 1 415"/>
                <a:gd name="f175" fmla="*/ f172 1 f3"/>
                <a:gd name="f176" fmla="*/ 82 1 f173"/>
                <a:gd name="f177" fmla="*/ 85 1 f174"/>
                <a:gd name="f178" fmla="*/ 77 1 f173"/>
                <a:gd name="f179" fmla="*/ 112 1 f174"/>
                <a:gd name="f180" fmla="*/ 84 1 f173"/>
                <a:gd name="f181" fmla="*/ 140 1 f174"/>
                <a:gd name="f182" fmla="*/ 116 1 f173"/>
                <a:gd name="f183" fmla="*/ 107 1 f174"/>
                <a:gd name="f184" fmla="*/ 145 1 f173"/>
                <a:gd name="f185" fmla="*/ 80 1 f174"/>
                <a:gd name="f186" fmla="*/ 161 1 f173"/>
                <a:gd name="f187" fmla="*/ 18 1 f174"/>
                <a:gd name="f188" fmla="*/ 183 1 f173"/>
                <a:gd name="f189" fmla="*/ 28 1 f174"/>
                <a:gd name="f190" fmla="*/ 203 1 f173"/>
                <a:gd name="f191" fmla="*/ 65 1 f174"/>
                <a:gd name="f192" fmla="*/ 236 1 f173"/>
                <a:gd name="f193" fmla="*/ 55 1 f174"/>
                <a:gd name="f194" fmla="*/ 253 1 f173"/>
                <a:gd name="f195" fmla="*/ 40 1 f174"/>
                <a:gd name="f196" fmla="*/ 286 1 f173"/>
                <a:gd name="f197" fmla="*/ 0 1 f174"/>
                <a:gd name="f198" fmla="*/ 317 1 f173"/>
                <a:gd name="f199" fmla="*/ 33 1 f174"/>
                <a:gd name="f200" fmla="*/ 333 1 f173"/>
                <a:gd name="f201" fmla="*/ 62 1 f174"/>
                <a:gd name="f202" fmla="*/ 328 1 f173"/>
                <a:gd name="f203" fmla="*/ 115 1 f174"/>
                <a:gd name="f204" fmla="*/ 322 1 f173"/>
                <a:gd name="f205" fmla="*/ 169 1 f174"/>
                <a:gd name="f206" fmla="*/ 335 1 f173"/>
                <a:gd name="f207" fmla="*/ 207 1 f174"/>
                <a:gd name="f208" fmla="*/ 366 1 f173"/>
                <a:gd name="f209" fmla="*/ 192 1 f174"/>
                <a:gd name="f210" fmla="*/ 367 1 f173"/>
                <a:gd name="f211" fmla="*/ 236 1 f174"/>
                <a:gd name="f212" fmla="*/ 341 1 f173"/>
                <a:gd name="f213" fmla="*/ 267 1 f174"/>
                <a:gd name="f214" fmla="*/ 353 1 f173"/>
                <a:gd name="f215" fmla="*/ 303 1 f174"/>
                <a:gd name="f216" fmla="*/ 306 1 f174"/>
                <a:gd name="f217" fmla="*/ 387 1 f173"/>
                <a:gd name="f218" fmla="*/ 341 1 f174"/>
                <a:gd name="f219" fmla="*/ 412 1 f173"/>
                <a:gd name="f220" fmla="*/ 368 1 f174"/>
                <a:gd name="f221" fmla="*/ 375 1 f173"/>
                <a:gd name="f222" fmla="*/ 378 1 f174"/>
                <a:gd name="f223" fmla="*/ 331 1 f173"/>
                <a:gd name="f224" fmla="*/ 366 1 f174"/>
                <a:gd name="f225" fmla="*/ 304 1 f173"/>
                <a:gd name="f226" fmla="*/ 373 1 f174"/>
                <a:gd name="f227" fmla="*/ 276 1 f173"/>
                <a:gd name="f228" fmla="*/ 226 1 f173"/>
                <a:gd name="f229" fmla="*/ 338 1 f174"/>
                <a:gd name="f230" fmla="*/ 196 1 f173"/>
                <a:gd name="f231" fmla="*/ 330 1 f174"/>
                <a:gd name="f232" fmla="*/ 165 1 f173"/>
                <a:gd name="f233" fmla="*/ 316 1 f174"/>
                <a:gd name="f234" fmla="*/ 326 1 f174"/>
                <a:gd name="f235" fmla="*/ 140 1 f173"/>
                <a:gd name="f236" fmla="*/ 361 1 f174"/>
                <a:gd name="f237" fmla="*/ 122 1 f173"/>
                <a:gd name="f238" fmla="*/ 400 1 f174"/>
                <a:gd name="f239" fmla="*/ 107 1 f173"/>
                <a:gd name="f240" fmla="*/ 410 1 f174"/>
                <a:gd name="f241" fmla="*/ 64 1 f173"/>
                <a:gd name="f242" fmla="*/ 35 1 f173"/>
                <a:gd name="f243" fmla="*/ 319 1 f174"/>
                <a:gd name="f244" fmla="*/ 15 1 f173"/>
                <a:gd name="f245" fmla="*/ 313 1 f174"/>
                <a:gd name="f246" fmla="*/ 9 1 f173"/>
                <a:gd name="f247" fmla="*/ 276 1 f174"/>
                <a:gd name="f248" fmla="*/ 4 1 f173"/>
                <a:gd name="f249" fmla="*/ 261 1 f174"/>
                <a:gd name="f250" fmla="*/ 29 1 f173"/>
                <a:gd name="f251" fmla="*/ 252 1 f174"/>
                <a:gd name="f252" fmla="*/ 55 1 f173"/>
                <a:gd name="f253" fmla="*/ 243 1 f174"/>
                <a:gd name="f254" fmla="*/ 212 1 f174"/>
                <a:gd name="f255" fmla="*/ 17 1 f173"/>
                <a:gd name="f256" fmla="*/ 136 1 f174"/>
                <a:gd name="f257" fmla="*/ 120 1 f174"/>
                <a:gd name="f258" fmla="*/ 44 1 f173"/>
                <a:gd name="f259" fmla="*/ 53 1 f173"/>
                <a:gd name="f260" fmla="*/ 75 1 f174"/>
                <a:gd name="f261" fmla="*/ 0 1 f173"/>
                <a:gd name="f262" fmla="*/ f7 1 f173"/>
                <a:gd name="f263" fmla="*/ f8 1 f174"/>
                <a:gd name="f264" fmla="+- f175 0 f1"/>
                <a:gd name="f265" fmla="*/ f261 f168 1"/>
                <a:gd name="f266" fmla="*/ f262 f168 1"/>
                <a:gd name="f267" fmla="*/ f263 f169 1"/>
                <a:gd name="f268" fmla="*/ f197 f169 1"/>
                <a:gd name="f269" fmla="*/ f176 f168 1"/>
                <a:gd name="f270" fmla="*/ f177 f169 1"/>
                <a:gd name="f271" fmla="*/ f178 f168 1"/>
                <a:gd name="f272" fmla="*/ f179 f169 1"/>
                <a:gd name="f273" fmla="*/ f180 f168 1"/>
                <a:gd name="f274" fmla="*/ f181 f169 1"/>
                <a:gd name="f275" fmla="*/ f182 f168 1"/>
                <a:gd name="f276" fmla="*/ f183 f169 1"/>
                <a:gd name="f277" fmla="*/ f184 f168 1"/>
                <a:gd name="f278" fmla="*/ f185 f169 1"/>
                <a:gd name="f279" fmla="*/ f186 f168 1"/>
                <a:gd name="f280" fmla="*/ f187 f169 1"/>
                <a:gd name="f281" fmla="*/ f188 f168 1"/>
                <a:gd name="f282" fmla="*/ f189 f169 1"/>
                <a:gd name="f283" fmla="*/ f190 f168 1"/>
                <a:gd name="f284" fmla="*/ f191 f169 1"/>
                <a:gd name="f285" fmla="*/ f192 f168 1"/>
                <a:gd name="f286" fmla="*/ f193 f169 1"/>
                <a:gd name="f287" fmla="*/ f194 f168 1"/>
                <a:gd name="f288" fmla="*/ f195 f169 1"/>
                <a:gd name="f289" fmla="*/ f196 f168 1"/>
                <a:gd name="f290" fmla="*/ f198 f168 1"/>
                <a:gd name="f291" fmla="*/ f199 f169 1"/>
                <a:gd name="f292" fmla="*/ f200 f168 1"/>
                <a:gd name="f293" fmla="*/ f201 f169 1"/>
                <a:gd name="f294" fmla="*/ f202 f168 1"/>
                <a:gd name="f295" fmla="*/ f203 f169 1"/>
                <a:gd name="f296" fmla="*/ f204 f168 1"/>
                <a:gd name="f297" fmla="*/ f205 f169 1"/>
                <a:gd name="f298" fmla="*/ f206 f168 1"/>
                <a:gd name="f299" fmla="*/ f207 f169 1"/>
                <a:gd name="f300" fmla="*/ f208 f168 1"/>
                <a:gd name="f301" fmla="*/ f209 f169 1"/>
                <a:gd name="f302" fmla="*/ f210 f168 1"/>
                <a:gd name="f303" fmla="*/ f211 f169 1"/>
                <a:gd name="f304" fmla="*/ f212 f168 1"/>
                <a:gd name="f305" fmla="*/ f213 f169 1"/>
                <a:gd name="f306" fmla="*/ f214 f168 1"/>
                <a:gd name="f307" fmla="*/ f215 f169 1"/>
                <a:gd name="f308" fmla="*/ f216 f169 1"/>
                <a:gd name="f309" fmla="*/ f217 f168 1"/>
                <a:gd name="f310" fmla="*/ f218 f169 1"/>
                <a:gd name="f311" fmla="*/ f219 f168 1"/>
                <a:gd name="f312" fmla="*/ f220 f169 1"/>
                <a:gd name="f313" fmla="*/ f221 f168 1"/>
                <a:gd name="f314" fmla="*/ f222 f169 1"/>
                <a:gd name="f315" fmla="*/ f223 f168 1"/>
                <a:gd name="f316" fmla="*/ f224 f169 1"/>
                <a:gd name="f317" fmla="*/ f225 f168 1"/>
                <a:gd name="f318" fmla="*/ f226 f169 1"/>
                <a:gd name="f319" fmla="*/ f227 f168 1"/>
                <a:gd name="f320" fmla="*/ f228 f168 1"/>
                <a:gd name="f321" fmla="*/ f229 f169 1"/>
                <a:gd name="f322" fmla="*/ f230 f168 1"/>
                <a:gd name="f323" fmla="*/ f231 f169 1"/>
                <a:gd name="f324" fmla="*/ f232 f168 1"/>
                <a:gd name="f325" fmla="*/ f233 f169 1"/>
                <a:gd name="f326" fmla="*/ f234 f169 1"/>
                <a:gd name="f327" fmla="*/ f235 f168 1"/>
                <a:gd name="f328" fmla="*/ f236 f169 1"/>
                <a:gd name="f329" fmla="*/ f237 f168 1"/>
                <a:gd name="f330" fmla="*/ f238 f169 1"/>
                <a:gd name="f331" fmla="*/ f239 f168 1"/>
                <a:gd name="f332" fmla="*/ f240 f169 1"/>
                <a:gd name="f333" fmla="*/ f241 f168 1"/>
                <a:gd name="f334" fmla="*/ f242 f168 1"/>
                <a:gd name="f335" fmla="*/ f243 f169 1"/>
                <a:gd name="f336" fmla="*/ f244 f168 1"/>
                <a:gd name="f337" fmla="*/ f245 f169 1"/>
                <a:gd name="f338" fmla="*/ f246 f168 1"/>
                <a:gd name="f339" fmla="*/ f247 f169 1"/>
                <a:gd name="f340" fmla="*/ f248 f168 1"/>
                <a:gd name="f341" fmla="*/ f249 f169 1"/>
                <a:gd name="f342" fmla="*/ f250 f168 1"/>
                <a:gd name="f343" fmla="*/ f251 f169 1"/>
                <a:gd name="f344" fmla="*/ f252 f168 1"/>
                <a:gd name="f345" fmla="*/ f253 f169 1"/>
                <a:gd name="f346" fmla="*/ f254 f169 1"/>
                <a:gd name="f347" fmla="*/ f255 f168 1"/>
                <a:gd name="f348" fmla="*/ f256 f169 1"/>
                <a:gd name="f349" fmla="*/ f257 f169 1"/>
                <a:gd name="f350" fmla="*/ f258 f168 1"/>
                <a:gd name="f351" fmla="*/ f259 f168 1"/>
                <a:gd name="f352" fmla="*/ f260 f16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64">
                  <a:pos x="f269" y="f270"/>
                </a:cxn>
                <a:cxn ang="f264">
                  <a:pos x="f271" y="f272"/>
                </a:cxn>
                <a:cxn ang="f264">
                  <a:pos x="f273" y="f274"/>
                </a:cxn>
                <a:cxn ang="f264">
                  <a:pos x="f275" y="f276"/>
                </a:cxn>
                <a:cxn ang="f264">
                  <a:pos x="f277" y="f278"/>
                </a:cxn>
                <a:cxn ang="f264">
                  <a:pos x="f279" y="f280"/>
                </a:cxn>
                <a:cxn ang="f264">
                  <a:pos x="f281" y="f282"/>
                </a:cxn>
                <a:cxn ang="f264">
                  <a:pos x="f283" y="f284"/>
                </a:cxn>
                <a:cxn ang="f264">
                  <a:pos x="f285" y="f286"/>
                </a:cxn>
                <a:cxn ang="f264">
                  <a:pos x="f287" y="f288"/>
                </a:cxn>
                <a:cxn ang="f264">
                  <a:pos x="f289" y="f268"/>
                </a:cxn>
                <a:cxn ang="f264">
                  <a:pos x="f290" y="f291"/>
                </a:cxn>
                <a:cxn ang="f264">
                  <a:pos x="f292" y="f293"/>
                </a:cxn>
                <a:cxn ang="f264">
                  <a:pos x="f294" y="f295"/>
                </a:cxn>
                <a:cxn ang="f264">
                  <a:pos x="f296" y="f297"/>
                </a:cxn>
                <a:cxn ang="f264">
                  <a:pos x="f298" y="f299"/>
                </a:cxn>
                <a:cxn ang="f264">
                  <a:pos x="f300" y="f301"/>
                </a:cxn>
                <a:cxn ang="f264">
                  <a:pos x="f302" y="f303"/>
                </a:cxn>
                <a:cxn ang="f264">
                  <a:pos x="f304" y="f305"/>
                </a:cxn>
                <a:cxn ang="f264">
                  <a:pos x="f306" y="f307"/>
                </a:cxn>
                <a:cxn ang="f264">
                  <a:pos x="f300" y="f308"/>
                </a:cxn>
                <a:cxn ang="f264">
                  <a:pos x="f309" y="f310"/>
                </a:cxn>
                <a:cxn ang="f264">
                  <a:pos x="f311" y="f312"/>
                </a:cxn>
                <a:cxn ang="f264">
                  <a:pos x="f313" y="f314"/>
                </a:cxn>
                <a:cxn ang="f264">
                  <a:pos x="f315" y="f316"/>
                </a:cxn>
                <a:cxn ang="f264">
                  <a:pos x="f317" y="f318"/>
                </a:cxn>
                <a:cxn ang="f264">
                  <a:pos x="f319" y="f316"/>
                </a:cxn>
                <a:cxn ang="f264">
                  <a:pos x="f320" y="f321"/>
                </a:cxn>
                <a:cxn ang="f264">
                  <a:pos x="f322" y="f323"/>
                </a:cxn>
                <a:cxn ang="f264">
                  <a:pos x="f324" y="f325"/>
                </a:cxn>
                <a:cxn ang="f264">
                  <a:pos x="f277" y="f326"/>
                </a:cxn>
                <a:cxn ang="f264">
                  <a:pos x="f327" y="f328"/>
                </a:cxn>
                <a:cxn ang="f264">
                  <a:pos x="f329" y="f330"/>
                </a:cxn>
                <a:cxn ang="f264">
                  <a:pos x="f331" y="f332"/>
                </a:cxn>
                <a:cxn ang="f264">
                  <a:pos x="f333" y="f310"/>
                </a:cxn>
                <a:cxn ang="f264">
                  <a:pos x="f334" y="f335"/>
                </a:cxn>
                <a:cxn ang="f264">
                  <a:pos x="f336" y="f337"/>
                </a:cxn>
                <a:cxn ang="f264">
                  <a:pos x="f338" y="f339"/>
                </a:cxn>
                <a:cxn ang="f264">
                  <a:pos x="f340" y="f341"/>
                </a:cxn>
                <a:cxn ang="f264">
                  <a:pos x="f342" y="f343"/>
                </a:cxn>
                <a:cxn ang="f264">
                  <a:pos x="f344" y="f345"/>
                </a:cxn>
                <a:cxn ang="f264">
                  <a:pos x="f334" y="f346"/>
                </a:cxn>
                <a:cxn ang="f264">
                  <a:pos x="f347" y="f297"/>
                </a:cxn>
                <a:cxn ang="f264">
                  <a:pos x="f347" y="f348"/>
                </a:cxn>
                <a:cxn ang="f264">
                  <a:pos x="f347" y="f349"/>
                </a:cxn>
                <a:cxn ang="f264">
                  <a:pos x="f350" y="f276"/>
                </a:cxn>
                <a:cxn ang="f264">
                  <a:pos x="f351" y="f352"/>
                </a:cxn>
              </a:cxnLst>
              <a:rect l="f265" t="f268" r="f266" b="f267"/>
              <a:pathLst>
                <a:path w="420" h="415">
                  <a:moveTo>
                    <a:pt x="f9" y="f10"/>
                  </a:moveTo>
                  <a:lnTo>
                    <a:pt x="f11" y="f10"/>
                  </a:lnTo>
                  <a:lnTo>
                    <a:pt x="f12" y="f13"/>
                  </a:lnTo>
                  <a:lnTo>
                    <a:pt x="f12" y="f14"/>
                  </a:lnTo>
                  <a:lnTo>
                    <a:pt x="f12" y="f15"/>
                  </a:lnTo>
                  <a:lnTo>
                    <a:pt x="f16" y="f17"/>
                  </a:lnTo>
                  <a:lnTo>
                    <a:pt x="f11" y="f18"/>
                  </a:lnTo>
                  <a:lnTo>
                    <a:pt x="f10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26" y="f28"/>
                  </a:lnTo>
                  <a:lnTo>
                    <a:pt x="f23" y="f29"/>
                  </a:lnTo>
                  <a:lnTo>
                    <a:pt x="f30" y="f31"/>
                  </a:lnTo>
                  <a:lnTo>
                    <a:pt x="f32" y="f33"/>
                  </a:lnTo>
                  <a:lnTo>
                    <a:pt x="f34" y="f35"/>
                  </a:lnTo>
                  <a:lnTo>
                    <a:pt x="f36" y="f37"/>
                  </a:lnTo>
                  <a:lnTo>
                    <a:pt x="f38" y="f39"/>
                  </a:lnTo>
                  <a:lnTo>
                    <a:pt x="f40" y="f41"/>
                  </a:lnTo>
                  <a:lnTo>
                    <a:pt x="f40" y="f42"/>
                  </a:lnTo>
                  <a:lnTo>
                    <a:pt x="f43" y="f44"/>
                  </a:lnTo>
                  <a:lnTo>
                    <a:pt x="f45" y="f46"/>
                  </a:lnTo>
                  <a:lnTo>
                    <a:pt x="f47" y="f48"/>
                  </a:lnTo>
                  <a:lnTo>
                    <a:pt x="f49" y="f50"/>
                  </a:lnTo>
                  <a:lnTo>
                    <a:pt x="f51" y="f52"/>
                  </a:lnTo>
                  <a:lnTo>
                    <a:pt x="f53" y="f35"/>
                  </a:lnTo>
                  <a:lnTo>
                    <a:pt x="f54" y="f55"/>
                  </a:lnTo>
                  <a:lnTo>
                    <a:pt x="f56" y="f57"/>
                  </a:lnTo>
                  <a:lnTo>
                    <a:pt x="f58" y="f59"/>
                  </a:lnTo>
                  <a:lnTo>
                    <a:pt x="f60" y="f41"/>
                  </a:lnTo>
                  <a:lnTo>
                    <a:pt x="f61" y="f62"/>
                  </a:lnTo>
                  <a:lnTo>
                    <a:pt x="f63" y="f6"/>
                  </a:lnTo>
                  <a:lnTo>
                    <a:pt x="f64" y="f62"/>
                  </a:lnTo>
                  <a:lnTo>
                    <a:pt x="f65" y="f66"/>
                  </a:lnTo>
                  <a:lnTo>
                    <a:pt x="f67" y="f68"/>
                  </a:lnTo>
                  <a:lnTo>
                    <a:pt x="f69" y="f70"/>
                  </a:lnTo>
                  <a:lnTo>
                    <a:pt x="f71" y="f57"/>
                  </a:lnTo>
                  <a:lnTo>
                    <a:pt x="f72" y="f33"/>
                  </a:lnTo>
                  <a:lnTo>
                    <a:pt x="f72" y="f73"/>
                  </a:lnTo>
                  <a:lnTo>
                    <a:pt x="f72" y="f74"/>
                  </a:lnTo>
                  <a:lnTo>
                    <a:pt x="f75" y="f18"/>
                  </a:lnTo>
                  <a:lnTo>
                    <a:pt x="f75" y="f19"/>
                  </a:lnTo>
                  <a:lnTo>
                    <a:pt x="f76" y="f30"/>
                  </a:lnTo>
                  <a:lnTo>
                    <a:pt x="f76" y="f77"/>
                  </a:lnTo>
                  <a:lnTo>
                    <a:pt x="f76" y="f78"/>
                  </a:lnTo>
                  <a:lnTo>
                    <a:pt x="f75" y="f79"/>
                  </a:lnTo>
                  <a:lnTo>
                    <a:pt x="f71" y="f80"/>
                  </a:lnTo>
                  <a:lnTo>
                    <a:pt x="f81" y="f82"/>
                  </a:lnTo>
                  <a:lnTo>
                    <a:pt x="f83" y="f78"/>
                  </a:lnTo>
                  <a:lnTo>
                    <a:pt x="f84" y="f85"/>
                  </a:lnTo>
                  <a:lnTo>
                    <a:pt x="f86" y="f47"/>
                  </a:lnTo>
                  <a:lnTo>
                    <a:pt x="f84" y="f87"/>
                  </a:lnTo>
                  <a:lnTo>
                    <a:pt x="f88" y="f53"/>
                  </a:lnTo>
                  <a:lnTo>
                    <a:pt x="f2" y="f89"/>
                  </a:lnTo>
                  <a:lnTo>
                    <a:pt x="f81" y="f90"/>
                  </a:lnTo>
                  <a:lnTo>
                    <a:pt x="f91" y="f92"/>
                  </a:lnTo>
                  <a:lnTo>
                    <a:pt x="f93" y="f94"/>
                  </a:lnTo>
                  <a:lnTo>
                    <a:pt x="f95" y="f96"/>
                  </a:lnTo>
                  <a:lnTo>
                    <a:pt x="f97" y="f98"/>
                  </a:lnTo>
                  <a:lnTo>
                    <a:pt x="f2" y="f96"/>
                  </a:lnTo>
                  <a:lnTo>
                    <a:pt x="f99" y="f100"/>
                  </a:lnTo>
                  <a:lnTo>
                    <a:pt x="f84" y="f65"/>
                  </a:lnTo>
                  <a:lnTo>
                    <a:pt x="f99" y="f101"/>
                  </a:lnTo>
                  <a:lnTo>
                    <a:pt x="f102" y="f103"/>
                  </a:lnTo>
                  <a:lnTo>
                    <a:pt x="f104" y="f91"/>
                  </a:lnTo>
                  <a:lnTo>
                    <a:pt x="f105" y="f106"/>
                  </a:lnTo>
                  <a:lnTo>
                    <a:pt x="f107" y="f108"/>
                  </a:lnTo>
                  <a:lnTo>
                    <a:pt x="f109" y="f110"/>
                  </a:lnTo>
                  <a:lnTo>
                    <a:pt x="f7" y="f111"/>
                  </a:lnTo>
                  <a:lnTo>
                    <a:pt x="f112" y="f113"/>
                  </a:lnTo>
                  <a:lnTo>
                    <a:pt x="f102" y="f113"/>
                  </a:lnTo>
                  <a:lnTo>
                    <a:pt x="f84" y="f114"/>
                  </a:lnTo>
                  <a:lnTo>
                    <a:pt x="f115" y="f116"/>
                  </a:lnTo>
                  <a:lnTo>
                    <a:pt x="f69" y="f84"/>
                  </a:lnTo>
                  <a:lnTo>
                    <a:pt x="f117" y="f118"/>
                  </a:lnTo>
                  <a:lnTo>
                    <a:pt x="f119" y="f102"/>
                  </a:lnTo>
                  <a:lnTo>
                    <a:pt x="f120" y="f111"/>
                  </a:lnTo>
                  <a:lnTo>
                    <a:pt x="f121" y="f122"/>
                  </a:lnTo>
                  <a:lnTo>
                    <a:pt x="f63" y="f123"/>
                  </a:lnTo>
                  <a:lnTo>
                    <a:pt x="f124" y="f84"/>
                  </a:lnTo>
                  <a:lnTo>
                    <a:pt x="f125" y="f122"/>
                  </a:lnTo>
                  <a:lnTo>
                    <a:pt x="f126" y="f127"/>
                  </a:lnTo>
                  <a:lnTo>
                    <a:pt x="f128" y="f93"/>
                  </a:lnTo>
                  <a:lnTo>
                    <a:pt x="f129" y="f101"/>
                  </a:lnTo>
                  <a:lnTo>
                    <a:pt x="f47" y="f130"/>
                  </a:lnTo>
                  <a:lnTo>
                    <a:pt x="f82" y="f103"/>
                  </a:lnTo>
                  <a:lnTo>
                    <a:pt x="f131" y="f103"/>
                  </a:lnTo>
                  <a:lnTo>
                    <a:pt x="f132" y="f117"/>
                  </a:lnTo>
                  <a:lnTo>
                    <a:pt x="f133" y="f134"/>
                  </a:lnTo>
                  <a:lnTo>
                    <a:pt x="f32" y="f135"/>
                  </a:lnTo>
                  <a:lnTo>
                    <a:pt x="f136" y="f117"/>
                  </a:lnTo>
                  <a:lnTo>
                    <a:pt x="f30" y="f130"/>
                  </a:lnTo>
                  <a:lnTo>
                    <a:pt x="f21" y="f72"/>
                  </a:lnTo>
                  <a:lnTo>
                    <a:pt x="f137" y="f106"/>
                  </a:lnTo>
                  <a:lnTo>
                    <a:pt x="f21" y="f122"/>
                  </a:lnTo>
                  <a:lnTo>
                    <a:pt x="f138" y="f116"/>
                  </a:lnTo>
                  <a:lnTo>
                    <a:pt x="f19" y="f139"/>
                  </a:lnTo>
                  <a:lnTo>
                    <a:pt x="f140" y="f141"/>
                  </a:lnTo>
                  <a:lnTo>
                    <a:pt x="f25" y="f107"/>
                  </a:lnTo>
                  <a:lnTo>
                    <a:pt x="f142" y="f8"/>
                  </a:lnTo>
                  <a:lnTo>
                    <a:pt x="f27" y="f143"/>
                  </a:lnTo>
                  <a:lnTo>
                    <a:pt x="f15" y="f107"/>
                  </a:lnTo>
                  <a:lnTo>
                    <a:pt x="f15" y="f114"/>
                  </a:lnTo>
                  <a:lnTo>
                    <a:pt x="f144" y="f91"/>
                  </a:lnTo>
                  <a:lnTo>
                    <a:pt x="f145" y="f135"/>
                  </a:lnTo>
                  <a:lnTo>
                    <a:pt x="f146" y="f135"/>
                  </a:lnTo>
                  <a:lnTo>
                    <a:pt x="f147" y="f135"/>
                  </a:lnTo>
                  <a:lnTo>
                    <a:pt x="f148" y="f117"/>
                  </a:lnTo>
                  <a:lnTo>
                    <a:pt x="f149" y="f117"/>
                  </a:lnTo>
                  <a:lnTo>
                    <a:pt x="f41" y="f150"/>
                  </a:lnTo>
                  <a:lnTo>
                    <a:pt x="f151" y="f152"/>
                  </a:lnTo>
                  <a:lnTo>
                    <a:pt x="f151" y="f96"/>
                  </a:lnTo>
                  <a:lnTo>
                    <a:pt x="f151" y="f124"/>
                  </a:lnTo>
                  <a:lnTo>
                    <a:pt x="f153" y="f154"/>
                  </a:lnTo>
                  <a:lnTo>
                    <a:pt x="f6" y="f92"/>
                  </a:lnTo>
                  <a:lnTo>
                    <a:pt x="f62" y="f155"/>
                  </a:lnTo>
                  <a:lnTo>
                    <a:pt x="f39" y="f156"/>
                  </a:lnTo>
                  <a:lnTo>
                    <a:pt x="f157" y="f54"/>
                  </a:lnTo>
                  <a:lnTo>
                    <a:pt x="f148" y="f156"/>
                  </a:lnTo>
                  <a:lnTo>
                    <a:pt x="f70" y="f158"/>
                  </a:lnTo>
                  <a:lnTo>
                    <a:pt x="f57" y="f156"/>
                  </a:lnTo>
                  <a:lnTo>
                    <a:pt x="f35" y="f126"/>
                  </a:lnTo>
                  <a:lnTo>
                    <a:pt x="f35" y="f159"/>
                  </a:lnTo>
                  <a:lnTo>
                    <a:pt x="f44" y="f87"/>
                  </a:lnTo>
                  <a:lnTo>
                    <a:pt x="f147" y="f129"/>
                  </a:lnTo>
                  <a:lnTo>
                    <a:pt x="f68" y="f160"/>
                  </a:lnTo>
                  <a:lnTo>
                    <a:pt x="f148" y="f161"/>
                  </a:lnTo>
                  <a:lnTo>
                    <a:pt x="f157" y="f77"/>
                  </a:lnTo>
                  <a:lnTo>
                    <a:pt x="f157" y="f32"/>
                  </a:lnTo>
                  <a:lnTo>
                    <a:pt x="f66" y="f162"/>
                  </a:lnTo>
                  <a:lnTo>
                    <a:pt x="f157" y="f163"/>
                  </a:lnTo>
                  <a:lnTo>
                    <a:pt x="f39" y="f164"/>
                  </a:lnTo>
                  <a:lnTo>
                    <a:pt x="f41" y="f165"/>
                  </a:lnTo>
                  <a:lnTo>
                    <a:pt x="f157" y="f25"/>
                  </a:lnTo>
                  <a:lnTo>
                    <a:pt x="f149" y="f25"/>
                  </a:lnTo>
                  <a:lnTo>
                    <a:pt x="f68" y="f25"/>
                  </a:lnTo>
                  <a:lnTo>
                    <a:pt x="f146" y="f27"/>
                  </a:lnTo>
                  <a:lnTo>
                    <a:pt x="f57" y="f166"/>
                  </a:lnTo>
                  <a:lnTo>
                    <a:pt x="f57" y="f14"/>
                  </a:lnTo>
                  <a:lnTo>
                    <a:pt x="f9" y="f10"/>
                  </a:lnTo>
                  <a:close/>
                </a:path>
              </a:pathLst>
            </a:custGeom>
            <a:solidFill>
              <a:srgbClr val="D9D9D9"/>
            </a:solidFill>
            <a:ln w="6345" cap="flat">
              <a:solidFill>
                <a:srgbClr val="A6A6A6"/>
              </a:solidFill>
              <a:prstDash val="solid"/>
              <a:round/>
            </a:ln>
          </p:spPr>
          <p:txBody>
            <a:bodyPr vert="horz" wrap="square" lIns="68580" tIns="34290" rIns="68580" bIns="3429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290" rtl="0" fontAlgn="auto" hangingPunct="1">
                <a:lnSpc>
                  <a:spcPct val="100000"/>
                </a:lnSpc>
                <a:spcBef>
                  <a:spcPts val="50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000" b="0" i="0" u="none" strike="noStrike" kern="0" cap="none" spc="0" baseline="0">
                <a:solidFill>
                  <a:srgbClr val="133B9C"/>
                </a:solidFill>
                <a:highlight>
                  <a:srgbClr val="008556"/>
                </a:highlight>
                <a:uFillTx/>
                <a:latin typeface="Arial"/>
              </a:endParaRPr>
            </a:p>
          </p:txBody>
        </p:sp>
        <p:sp>
          <p:nvSpPr>
            <p:cNvPr id="41" name="Freeform 166">
              <a:extLst>
                <a:ext uri="{FF2B5EF4-FFF2-40B4-BE49-F238E27FC236}">
                  <a16:creationId xmlns:a16="http://schemas.microsoft.com/office/drawing/2014/main" id="{16E95E39-D0B3-2A43-7EAF-1435096A647C}"/>
                </a:ext>
              </a:extLst>
            </p:cNvPr>
            <p:cNvSpPr/>
            <p:nvPr/>
          </p:nvSpPr>
          <p:spPr>
            <a:xfrm>
              <a:off x="4684123" y="1630329"/>
              <a:ext cx="307741" cy="247966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29"/>
                <a:gd name="f7" fmla="val 296"/>
                <a:gd name="f8" fmla="val 94"/>
                <a:gd name="f9" fmla="val 2"/>
                <a:gd name="f10" fmla="val 74"/>
                <a:gd name="f11" fmla="val 13"/>
                <a:gd name="f12" fmla="val 67"/>
                <a:gd name="f13" fmla="val 29"/>
                <a:gd name="f14" fmla="val 53"/>
                <a:gd name="f15" fmla="val 33"/>
                <a:gd name="f16" fmla="val 45"/>
                <a:gd name="f17" fmla="val 25"/>
                <a:gd name="f18" fmla="val 35"/>
                <a:gd name="f19" fmla="val 58"/>
                <a:gd name="f20" fmla="val 65"/>
                <a:gd name="f21" fmla="val 7"/>
                <a:gd name="f22" fmla="val 70"/>
                <a:gd name="f23" fmla="val 18"/>
                <a:gd name="f24" fmla="val 87"/>
                <a:gd name="f25" fmla="val 127"/>
                <a:gd name="f26" fmla="val 42"/>
                <a:gd name="f27" fmla="val 130"/>
                <a:gd name="f28" fmla="val 150"/>
                <a:gd name="f29" fmla="val 174"/>
                <a:gd name="f30" fmla="val 9"/>
                <a:gd name="f31" fmla="val 187"/>
                <a:gd name="f32" fmla="val 203"/>
                <a:gd name="f33" fmla="val 20"/>
                <a:gd name="f34" fmla="val 221"/>
                <a:gd name="f35" fmla="val 247"/>
                <a:gd name="f36" fmla="val 257"/>
                <a:gd name="f37" fmla="val 270"/>
                <a:gd name="f38" fmla="val 282"/>
                <a:gd name="f39" fmla="val 5"/>
                <a:gd name="f40" fmla="val 290"/>
                <a:gd name="f41" fmla="val 287"/>
                <a:gd name="f42" fmla="val 302"/>
                <a:gd name="f43" fmla="val 49"/>
                <a:gd name="f44" fmla="val 312"/>
                <a:gd name="f45" fmla="val 62"/>
                <a:gd name="f46" fmla="val 317"/>
                <a:gd name="f47" fmla="val 78"/>
                <a:gd name="f48" fmla="val 105"/>
                <a:gd name="f49" fmla="val 107"/>
                <a:gd name="f50" fmla="val 297"/>
                <a:gd name="f51" fmla="val 114"/>
                <a:gd name="f52" fmla="val 129"/>
                <a:gd name="f53" fmla="val 267"/>
                <a:gd name="f54" fmla="val 142"/>
                <a:gd name="f55" fmla="val 254"/>
                <a:gd name="f56" fmla="val 152"/>
                <a:gd name="f57" fmla="val 242"/>
                <a:gd name="f58" fmla="val 156"/>
                <a:gd name="f59" fmla="val 159"/>
                <a:gd name="f60" fmla="val 217"/>
                <a:gd name="f61" fmla="val 169"/>
                <a:gd name="f62" fmla="val 219"/>
                <a:gd name="f63" fmla="val 179"/>
                <a:gd name="f64" fmla="val 227"/>
                <a:gd name="f65" fmla="val 183"/>
                <a:gd name="f66" fmla="val 237"/>
                <a:gd name="f67" fmla="val 189"/>
                <a:gd name="f68" fmla="val 244"/>
                <a:gd name="f69" fmla="val 196"/>
                <a:gd name="f70" fmla="val 239"/>
                <a:gd name="f71" fmla="val 201"/>
                <a:gd name="f72" fmla="val 230"/>
                <a:gd name="f73" fmla="val 210"/>
                <a:gd name="f74" fmla="val 214"/>
                <a:gd name="f75" fmla="val 212"/>
                <a:gd name="f76" fmla="val 216"/>
                <a:gd name="f77" fmla="val 226"/>
                <a:gd name="f78" fmla="val 236"/>
                <a:gd name="f79" fmla="val 205"/>
                <a:gd name="f80" fmla="val 243"/>
                <a:gd name="f81" fmla="val 194"/>
                <a:gd name="f82" fmla="val 185"/>
                <a:gd name="f83" fmla="val 241"/>
                <a:gd name="f84" fmla="val 163"/>
                <a:gd name="f85" fmla="val 158"/>
                <a:gd name="f86" fmla="val 250"/>
                <a:gd name="f87" fmla="val 263"/>
                <a:gd name="f88" fmla="val 143"/>
                <a:gd name="f89" fmla="val 279"/>
                <a:gd name="f90" fmla="val 134"/>
                <a:gd name="f91" fmla="val 286"/>
                <a:gd name="f92" fmla="val 288"/>
                <a:gd name="f93" fmla="val 112"/>
                <a:gd name="f94" fmla="val 293"/>
                <a:gd name="f95" fmla="val 98"/>
                <a:gd name="f96" fmla="val 80"/>
                <a:gd name="f97" fmla="val 283"/>
                <a:gd name="f98" fmla="val 60"/>
                <a:gd name="f99" fmla="val 47"/>
                <a:gd name="f100" fmla="val 27"/>
                <a:gd name="f101" fmla="val 22"/>
                <a:gd name="f102" fmla="val 276"/>
                <a:gd name="f103" fmla="val 261"/>
                <a:gd name="f104" fmla="val 229"/>
                <a:gd name="f105" fmla="val 190"/>
                <a:gd name="f106" fmla="val 38"/>
                <a:gd name="f107" fmla="val 147"/>
                <a:gd name="f108" fmla="val 139"/>
                <a:gd name="f109" fmla="val 132"/>
                <a:gd name="f110" fmla="val 8"/>
                <a:gd name="f111" fmla="val 109"/>
                <a:gd name="f112" fmla="+- 0 0 -90"/>
                <a:gd name="f113" fmla="*/ f3 1 329"/>
                <a:gd name="f114" fmla="*/ f4 1 296"/>
                <a:gd name="f115" fmla="+- f7 0 f5"/>
                <a:gd name="f116" fmla="+- f6 0 f5"/>
                <a:gd name="f117" fmla="*/ f112 f0 1"/>
                <a:gd name="f118" fmla="*/ f116 1 329"/>
                <a:gd name="f119" fmla="*/ f115 1 296"/>
                <a:gd name="f120" fmla="*/ f117 1 f2"/>
                <a:gd name="f121" fmla="*/ 2 1 f118"/>
                <a:gd name="f122" fmla="*/ 74 1 f119"/>
                <a:gd name="f123" fmla="*/ 29 1 f118"/>
                <a:gd name="f124" fmla="*/ 53 1 f119"/>
                <a:gd name="f125" fmla="*/ 25 1 f118"/>
                <a:gd name="f126" fmla="*/ 35 1 f119"/>
                <a:gd name="f127" fmla="*/ 65 1 f118"/>
                <a:gd name="f128" fmla="*/ 7 1 f119"/>
                <a:gd name="f129" fmla="*/ 70 1 f118"/>
                <a:gd name="f130" fmla="*/ 25 1 f119"/>
                <a:gd name="f131" fmla="*/ 127 1 f118"/>
                <a:gd name="f132" fmla="*/ 42 1 f119"/>
                <a:gd name="f133" fmla="*/ 150 1 f118"/>
                <a:gd name="f134" fmla="*/ 33 1 f119"/>
                <a:gd name="f135" fmla="*/ 187 1 f118"/>
                <a:gd name="f136" fmla="*/ 9 1 f119"/>
                <a:gd name="f137" fmla="*/ 221 1 f118"/>
                <a:gd name="f138" fmla="*/ 257 1 f118"/>
                <a:gd name="f139" fmla="*/ 282 1 f118"/>
                <a:gd name="f140" fmla="*/ 5 1 f119"/>
                <a:gd name="f141" fmla="*/ 287 1 f118"/>
                <a:gd name="f142" fmla="*/ 29 1 f119"/>
                <a:gd name="f143" fmla="*/ 302 1 f118"/>
                <a:gd name="f144" fmla="*/ 49 1 f119"/>
                <a:gd name="f145" fmla="*/ 317 1 f118"/>
                <a:gd name="f146" fmla="*/ 78 1 f119"/>
                <a:gd name="f147" fmla="*/ 329 1 f118"/>
                <a:gd name="f148" fmla="*/ 105 1 f119"/>
                <a:gd name="f149" fmla="*/ 297 1 f118"/>
                <a:gd name="f150" fmla="*/ 114 1 f119"/>
                <a:gd name="f151" fmla="*/ 267 1 f118"/>
                <a:gd name="f152" fmla="*/ 142 1 f119"/>
                <a:gd name="f153" fmla="*/ 242 1 f118"/>
                <a:gd name="f154" fmla="*/ 156 1 f119"/>
                <a:gd name="f155" fmla="*/ 217 1 f118"/>
                <a:gd name="f156" fmla="*/ 169 1 f119"/>
                <a:gd name="f157" fmla="*/ 227 1 f118"/>
                <a:gd name="f158" fmla="*/ 183 1 f119"/>
                <a:gd name="f159" fmla="*/ 244 1 f118"/>
                <a:gd name="f160" fmla="*/ 196 1 f119"/>
                <a:gd name="f161" fmla="*/ 230 1 f118"/>
                <a:gd name="f162" fmla="*/ 210 1 f119"/>
                <a:gd name="f163" fmla="*/ 212 1 f118"/>
                <a:gd name="f164" fmla="*/ 216 1 f119"/>
                <a:gd name="f165" fmla="*/ 210 1 f118"/>
                <a:gd name="f166" fmla="*/ 236 1 f119"/>
                <a:gd name="f167" fmla="*/ 194 1 f118"/>
                <a:gd name="f168" fmla="*/ 243 1 f119"/>
                <a:gd name="f169" fmla="*/ 174 1 f118"/>
                <a:gd name="f170" fmla="*/ 239 1 f119"/>
                <a:gd name="f171" fmla="*/ 158 1 f118"/>
                <a:gd name="f172" fmla="*/ 250 1 f119"/>
                <a:gd name="f173" fmla="*/ 143 1 f118"/>
                <a:gd name="f174" fmla="*/ 279 1 f119"/>
                <a:gd name="f175" fmla="*/ 288 1 f119"/>
                <a:gd name="f176" fmla="*/ 98 1 f118"/>
                <a:gd name="f177" fmla="*/ 293 1 f119"/>
                <a:gd name="f178" fmla="*/ 80 1 f118"/>
                <a:gd name="f179" fmla="*/ 283 1 f119"/>
                <a:gd name="f180" fmla="*/ 62 1 f118"/>
                <a:gd name="f181" fmla="*/ 53 1 f118"/>
                <a:gd name="f182" fmla="*/ 42 1 f118"/>
                <a:gd name="f183" fmla="*/ 27 1 f118"/>
                <a:gd name="f184" fmla="*/ 20 1 f118"/>
                <a:gd name="f185" fmla="*/ 276 1 f119"/>
                <a:gd name="f186" fmla="*/ 22 1 f118"/>
                <a:gd name="f187" fmla="*/ 190 1 f119"/>
                <a:gd name="f188" fmla="*/ 33 1 f118"/>
                <a:gd name="f189" fmla="*/ 35 1 f118"/>
                <a:gd name="f190" fmla="*/ 139 1 f119"/>
                <a:gd name="f191" fmla="*/ 18 1 f118"/>
                <a:gd name="f192" fmla="*/ 127 1 f119"/>
                <a:gd name="f193" fmla="*/ 5 1 f118"/>
                <a:gd name="f194" fmla="*/ 109 1 f119"/>
                <a:gd name="f195" fmla="*/ 0 1 f118"/>
                <a:gd name="f196" fmla="*/ f6 1 f118"/>
                <a:gd name="f197" fmla="*/ 0 1 f119"/>
                <a:gd name="f198" fmla="*/ f7 1 f119"/>
                <a:gd name="f199" fmla="+- f120 0 f1"/>
                <a:gd name="f200" fmla="*/ f195 f113 1"/>
                <a:gd name="f201" fmla="*/ f196 f113 1"/>
                <a:gd name="f202" fmla="*/ f198 f114 1"/>
                <a:gd name="f203" fmla="*/ f197 f114 1"/>
                <a:gd name="f204" fmla="*/ f121 f113 1"/>
                <a:gd name="f205" fmla="*/ f122 f114 1"/>
                <a:gd name="f206" fmla="*/ f123 f113 1"/>
                <a:gd name="f207" fmla="*/ f124 f114 1"/>
                <a:gd name="f208" fmla="*/ f125 f113 1"/>
                <a:gd name="f209" fmla="*/ f126 f114 1"/>
                <a:gd name="f210" fmla="*/ f127 f113 1"/>
                <a:gd name="f211" fmla="*/ f128 f114 1"/>
                <a:gd name="f212" fmla="*/ f129 f113 1"/>
                <a:gd name="f213" fmla="*/ f130 f114 1"/>
                <a:gd name="f214" fmla="*/ f131 f113 1"/>
                <a:gd name="f215" fmla="*/ f132 f114 1"/>
                <a:gd name="f216" fmla="*/ f133 f113 1"/>
                <a:gd name="f217" fmla="*/ f134 f114 1"/>
                <a:gd name="f218" fmla="*/ f135 f113 1"/>
                <a:gd name="f219" fmla="*/ f136 f114 1"/>
                <a:gd name="f220" fmla="*/ f137 f113 1"/>
                <a:gd name="f221" fmla="*/ f138 f113 1"/>
                <a:gd name="f222" fmla="*/ f139 f113 1"/>
                <a:gd name="f223" fmla="*/ f140 f114 1"/>
                <a:gd name="f224" fmla="*/ f141 f113 1"/>
                <a:gd name="f225" fmla="*/ f142 f114 1"/>
                <a:gd name="f226" fmla="*/ f143 f113 1"/>
                <a:gd name="f227" fmla="*/ f144 f114 1"/>
                <a:gd name="f228" fmla="*/ f145 f113 1"/>
                <a:gd name="f229" fmla="*/ f146 f114 1"/>
                <a:gd name="f230" fmla="*/ f147 f113 1"/>
                <a:gd name="f231" fmla="*/ f148 f114 1"/>
                <a:gd name="f232" fmla="*/ f149 f113 1"/>
                <a:gd name="f233" fmla="*/ f150 f114 1"/>
                <a:gd name="f234" fmla="*/ f151 f113 1"/>
                <a:gd name="f235" fmla="*/ f152 f114 1"/>
                <a:gd name="f236" fmla="*/ f153 f113 1"/>
                <a:gd name="f237" fmla="*/ f154 f114 1"/>
                <a:gd name="f238" fmla="*/ f155 f113 1"/>
                <a:gd name="f239" fmla="*/ f156 f114 1"/>
                <a:gd name="f240" fmla="*/ f157 f113 1"/>
                <a:gd name="f241" fmla="*/ f158 f114 1"/>
                <a:gd name="f242" fmla="*/ f159 f113 1"/>
                <a:gd name="f243" fmla="*/ f160 f114 1"/>
                <a:gd name="f244" fmla="*/ f161 f113 1"/>
                <a:gd name="f245" fmla="*/ f162 f114 1"/>
                <a:gd name="f246" fmla="*/ f163 f113 1"/>
                <a:gd name="f247" fmla="*/ f164 f114 1"/>
                <a:gd name="f248" fmla="*/ f165 f113 1"/>
                <a:gd name="f249" fmla="*/ f166 f114 1"/>
                <a:gd name="f250" fmla="*/ f167 f113 1"/>
                <a:gd name="f251" fmla="*/ f168 f114 1"/>
                <a:gd name="f252" fmla="*/ f169 f113 1"/>
                <a:gd name="f253" fmla="*/ f170 f114 1"/>
                <a:gd name="f254" fmla="*/ f171 f113 1"/>
                <a:gd name="f255" fmla="*/ f172 f114 1"/>
                <a:gd name="f256" fmla="*/ f173 f113 1"/>
                <a:gd name="f257" fmla="*/ f174 f114 1"/>
                <a:gd name="f258" fmla="*/ f175 f114 1"/>
                <a:gd name="f259" fmla="*/ f176 f113 1"/>
                <a:gd name="f260" fmla="*/ f177 f114 1"/>
                <a:gd name="f261" fmla="*/ f178 f113 1"/>
                <a:gd name="f262" fmla="*/ f179 f114 1"/>
                <a:gd name="f263" fmla="*/ f180 f113 1"/>
                <a:gd name="f264" fmla="*/ f181 f113 1"/>
                <a:gd name="f265" fmla="*/ f182 f113 1"/>
                <a:gd name="f266" fmla="*/ f183 f113 1"/>
                <a:gd name="f267" fmla="*/ f184 f113 1"/>
                <a:gd name="f268" fmla="*/ f185 f114 1"/>
                <a:gd name="f269" fmla="*/ f186 f113 1"/>
                <a:gd name="f270" fmla="*/ f187 f114 1"/>
                <a:gd name="f271" fmla="*/ f188 f113 1"/>
                <a:gd name="f272" fmla="*/ f189 f113 1"/>
                <a:gd name="f273" fmla="*/ f190 f114 1"/>
                <a:gd name="f274" fmla="*/ f191 f113 1"/>
                <a:gd name="f275" fmla="*/ f192 f114 1"/>
                <a:gd name="f276" fmla="*/ f193 f113 1"/>
                <a:gd name="f277" fmla="*/ f194 f11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99">
                  <a:pos x="f204" y="f205"/>
                </a:cxn>
                <a:cxn ang="f199">
                  <a:pos x="f206" y="f207"/>
                </a:cxn>
                <a:cxn ang="f199">
                  <a:pos x="f208" y="f209"/>
                </a:cxn>
                <a:cxn ang="f199">
                  <a:pos x="f210" y="f211"/>
                </a:cxn>
                <a:cxn ang="f199">
                  <a:pos x="f212" y="f213"/>
                </a:cxn>
                <a:cxn ang="f199">
                  <a:pos x="f214" y="f215"/>
                </a:cxn>
                <a:cxn ang="f199">
                  <a:pos x="f216" y="f217"/>
                </a:cxn>
                <a:cxn ang="f199">
                  <a:pos x="f218" y="f219"/>
                </a:cxn>
                <a:cxn ang="f199">
                  <a:pos x="f220" y="f213"/>
                </a:cxn>
                <a:cxn ang="f199">
                  <a:pos x="f221" y="f219"/>
                </a:cxn>
                <a:cxn ang="f199">
                  <a:pos x="f222" y="f223"/>
                </a:cxn>
                <a:cxn ang="f199">
                  <a:pos x="f224" y="f225"/>
                </a:cxn>
                <a:cxn ang="f199">
                  <a:pos x="f226" y="f227"/>
                </a:cxn>
                <a:cxn ang="f199">
                  <a:pos x="f228" y="f229"/>
                </a:cxn>
                <a:cxn ang="f199">
                  <a:pos x="f230" y="f231"/>
                </a:cxn>
                <a:cxn ang="f199">
                  <a:pos x="f232" y="f233"/>
                </a:cxn>
                <a:cxn ang="f199">
                  <a:pos x="f234" y="f235"/>
                </a:cxn>
                <a:cxn ang="f199">
                  <a:pos x="f236" y="f237"/>
                </a:cxn>
                <a:cxn ang="f199">
                  <a:pos x="f238" y="f239"/>
                </a:cxn>
                <a:cxn ang="f199">
                  <a:pos x="f240" y="f241"/>
                </a:cxn>
                <a:cxn ang="f199">
                  <a:pos x="f242" y="f243"/>
                </a:cxn>
                <a:cxn ang="f199">
                  <a:pos x="f244" y="f245"/>
                </a:cxn>
                <a:cxn ang="f199">
                  <a:pos x="f246" y="f247"/>
                </a:cxn>
                <a:cxn ang="f199">
                  <a:pos x="f248" y="f249"/>
                </a:cxn>
                <a:cxn ang="f199">
                  <a:pos x="f250" y="f251"/>
                </a:cxn>
                <a:cxn ang="f199">
                  <a:pos x="f252" y="f253"/>
                </a:cxn>
                <a:cxn ang="f199">
                  <a:pos x="f254" y="f255"/>
                </a:cxn>
                <a:cxn ang="f199">
                  <a:pos x="f256" y="f257"/>
                </a:cxn>
                <a:cxn ang="f199">
                  <a:pos x="f214" y="f258"/>
                </a:cxn>
                <a:cxn ang="f199">
                  <a:pos x="f259" y="f260"/>
                </a:cxn>
                <a:cxn ang="f199">
                  <a:pos x="f261" y="f262"/>
                </a:cxn>
                <a:cxn ang="f199">
                  <a:pos x="f263" y="f258"/>
                </a:cxn>
                <a:cxn ang="f199">
                  <a:pos x="f264" y="f257"/>
                </a:cxn>
                <a:cxn ang="f199">
                  <a:pos x="f265" y="f258"/>
                </a:cxn>
                <a:cxn ang="f199">
                  <a:pos x="f266" y="f260"/>
                </a:cxn>
                <a:cxn ang="f199">
                  <a:pos x="f267" y="f268"/>
                </a:cxn>
                <a:cxn ang="f199">
                  <a:pos x="f269" y="f251"/>
                </a:cxn>
                <a:cxn ang="f199">
                  <a:pos x="f206" y="f245"/>
                </a:cxn>
                <a:cxn ang="f199">
                  <a:pos x="f206" y="f270"/>
                </a:cxn>
                <a:cxn ang="f199">
                  <a:pos x="f271" y="f237"/>
                </a:cxn>
                <a:cxn ang="f199">
                  <a:pos x="f272" y="f273"/>
                </a:cxn>
                <a:cxn ang="f199">
                  <a:pos x="f274" y="f275"/>
                </a:cxn>
                <a:cxn ang="f199">
                  <a:pos x="f276" y="f277"/>
                </a:cxn>
              </a:cxnLst>
              <a:rect l="f200" t="f203" r="f201" b="f202"/>
              <a:pathLst>
                <a:path w="329" h="296">
                  <a:moveTo>
                    <a:pt x="f5" y="f8"/>
                  </a:move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5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2" y="f17"/>
                  </a:lnTo>
                  <a:lnTo>
                    <a:pt x="f24" y="f13"/>
                  </a:lnTo>
                  <a:lnTo>
                    <a:pt x="f25" y="f26"/>
                  </a:lnTo>
                  <a:lnTo>
                    <a:pt x="f27" y="f16"/>
                  </a:lnTo>
                  <a:lnTo>
                    <a:pt x="f28" y="f15"/>
                  </a:lnTo>
                  <a:lnTo>
                    <a:pt x="f29" y="f30"/>
                  </a:lnTo>
                  <a:lnTo>
                    <a:pt x="f31" y="f30"/>
                  </a:lnTo>
                  <a:lnTo>
                    <a:pt x="f32" y="f33"/>
                  </a:lnTo>
                  <a:lnTo>
                    <a:pt x="f34" y="f17"/>
                  </a:lnTo>
                  <a:lnTo>
                    <a:pt x="f35" y="f23"/>
                  </a:lnTo>
                  <a:lnTo>
                    <a:pt x="f36" y="f30"/>
                  </a:lnTo>
                  <a:lnTo>
                    <a:pt x="f37" y="f30"/>
                  </a:lnTo>
                  <a:lnTo>
                    <a:pt x="f38" y="f39"/>
                  </a:lnTo>
                  <a:lnTo>
                    <a:pt x="f40" y="f23"/>
                  </a:lnTo>
                  <a:lnTo>
                    <a:pt x="f41" y="f13"/>
                  </a:lnTo>
                  <a:lnTo>
                    <a:pt x="f40" y="f16"/>
                  </a:lnTo>
                  <a:lnTo>
                    <a:pt x="f42" y="f43"/>
                  </a:lnTo>
                  <a:lnTo>
                    <a:pt x="f44" y="f45"/>
                  </a:lnTo>
                  <a:lnTo>
                    <a:pt x="f46" y="f47"/>
                  </a:lnTo>
                  <a:lnTo>
                    <a:pt x="f6" y="f8"/>
                  </a:lnTo>
                  <a:lnTo>
                    <a:pt x="f6" y="f48"/>
                  </a:lnTo>
                  <a:lnTo>
                    <a:pt x="f44" y="f49"/>
                  </a:lnTo>
                  <a:lnTo>
                    <a:pt x="f50" y="f51"/>
                  </a:lnTo>
                  <a:lnTo>
                    <a:pt x="f38" y="f52"/>
                  </a:lnTo>
                  <a:lnTo>
                    <a:pt x="f53" y="f54"/>
                  </a:lnTo>
                  <a:lnTo>
                    <a:pt x="f55" y="f56"/>
                  </a:lnTo>
                  <a:lnTo>
                    <a:pt x="f57" y="f58"/>
                  </a:lnTo>
                  <a:lnTo>
                    <a:pt x="f34" y="f59"/>
                  </a:lnTo>
                  <a:lnTo>
                    <a:pt x="f60" y="f61"/>
                  </a:lnTo>
                  <a:lnTo>
                    <a:pt x="f62" y="f63"/>
                  </a:lnTo>
                  <a:lnTo>
                    <a:pt x="f64" y="f65"/>
                  </a:lnTo>
                  <a:lnTo>
                    <a:pt x="f66" y="f67"/>
                  </a:lnTo>
                  <a:lnTo>
                    <a:pt x="f68" y="f69"/>
                  </a:lnTo>
                  <a:lnTo>
                    <a:pt x="f70" y="f71"/>
                  </a:lnTo>
                  <a:lnTo>
                    <a:pt x="f72" y="f73"/>
                  </a:lnTo>
                  <a:lnTo>
                    <a:pt x="f62" y="f74"/>
                  </a:lnTo>
                  <a:lnTo>
                    <a:pt x="f75" y="f76"/>
                  </a:lnTo>
                  <a:lnTo>
                    <a:pt x="f74" y="f77"/>
                  </a:lnTo>
                  <a:lnTo>
                    <a:pt x="f73" y="f78"/>
                  </a:lnTo>
                  <a:lnTo>
                    <a:pt x="f79" y="f80"/>
                  </a:lnTo>
                  <a:lnTo>
                    <a:pt x="f81" y="f80"/>
                  </a:lnTo>
                  <a:lnTo>
                    <a:pt x="f82" y="f83"/>
                  </a:lnTo>
                  <a:lnTo>
                    <a:pt x="f29" y="f70"/>
                  </a:lnTo>
                  <a:lnTo>
                    <a:pt x="f84" y="f70"/>
                  </a:lnTo>
                  <a:lnTo>
                    <a:pt x="f85" y="f86"/>
                  </a:lnTo>
                  <a:lnTo>
                    <a:pt x="f56" y="f87"/>
                  </a:lnTo>
                  <a:lnTo>
                    <a:pt x="f88" y="f89"/>
                  </a:lnTo>
                  <a:lnTo>
                    <a:pt x="f90" y="f91"/>
                  </a:lnTo>
                  <a:lnTo>
                    <a:pt x="f25" y="f92"/>
                  </a:lnTo>
                  <a:lnTo>
                    <a:pt x="f93" y="f94"/>
                  </a:lnTo>
                  <a:lnTo>
                    <a:pt x="f95" y="f94"/>
                  </a:lnTo>
                  <a:lnTo>
                    <a:pt x="f24" y="f92"/>
                  </a:lnTo>
                  <a:lnTo>
                    <a:pt x="f96" y="f97"/>
                  </a:lnTo>
                  <a:lnTo>
                    <a:pt x="f22" y="f91"/>
                  </a:lnTo>
                  <a:lnTo>
                    <a:pt x="f45" y="f92"/>
                  </a:lnTo>
                  <a:lnTo>
                    <a:pt x="f98" y="f97"/>
                  </a:lnTo>
                  <a:lnTo>
                    <a:pt x="f14" y="f89"/>
                  </a:lnTo>
                  <a:lnTo>
                    <a:pt x="f99" y="f97"/>
                  </a:lnTo>
                  <a:lnTo>
                    <a:pt x="f26" y="f92"/>
                  </a:lnTo>
                  <a:lnTo>
                    <a:pt x="f18" y="f7"/>
                  </a:lnTo>
                  <a:lnTo>
                    <a:pt x="f100" y="f94"/>
                  </a:lnTo>
                  <a:lnTo>
                    <a:pt x="f101" y="f97"/>
                  </a:lnTo>
                  <a:lnTo>
                    <a:pt x="f33" y="f102"/>
                  </a:lnTo>
                  <a:lnTo>
                    <a:pt x="f101" y="f103"/>
                  </a:lnTo>
                  <a:lnTo>
                    <a:pt x="f101" y="f80"/>
                  </a:lnTo>
                  <a:lnTo>
                    <a:pt x="f17" y="f104"/>
                  </a:lnTo>
                  <a:lnTo>
                    <a:pt x="f13" y="f73"/>
                  </a:lnTo>
                  <a:lnTo>
                    <a:pt x="f13" y="f71"/>
                  </a:lnTo>
                  <a:lnTo>
                    <a:pt x="f13" y="f105"/>
                  </a:lnTo>
                  <a:lnTo>
                    <a:pt x="f13" y="f63"/>
                  </a:lnTo>
                  <a:lnTo>
                    <a:pt x="f15" y="f58"/>
                  </a:lnTo>
                  <a:lnTo>
                    <a:pt x="f106" y="f107"/>
                  </a:lnTo>
                  <a:lnTo>
                    <a:pt x="f18" y="f108"/>
                  </a:lnTo>
                  <a:lnTo>
                    <a:pt x="f100" y="f109"/>
                  </a:lnTo>
                  <a:lnTo>
                    <a:pt x="f23" y="f25"/>
                  </a:lnTo>
                  <a:lnTo>
                    <a:pt x="f110" y="f51"/>
                  </a:lnTo>
                  <a:lnTo>
                    <a:pt x="f39" y="f111"/>
                  </a:lnTo>
                  <a:lnTo>
                    <a:pt x="f5" y="f8"/>
                  </a:lnTo>
                  <a:close/>
                </a:path>
              </a:pathLst>
            </a:custGeom>
            <a:solidFill>
              <a:srgbClr val="D9D9D9"/>
            </a:solidFill>
            <a:ln w="6345" cap="flat">
              <a:solidFill>
                <a:srgbClr val="A6A6A6"/>
              </a:solidFill>
              <a:prstDash val="solid"/>
              <a:round/>
            </a:ln>
          </p:spPr>
          <p:txBody>
            <a:bodyPr vert="horz" wrap="square" lIns="68580" tIns="34290" rIns="68580" bIns="3429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290" rtl="0" fontAlgn="auto" hangingPunct="1">
                <a:lnSpc>
                  <a:spcPct val="100000"/>
                </a:lnSpc>
                <a:spcBef>
                  <a:spcPts val="50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000" b="0" i="0" u="none" strike="noStrike" kern="0" cap="none" spc="0" baseline="0">
                <a:solidFill>
                  <a:srgbClr val="133B9C"/>
                </a:solidFill>
                <a:highlight>
                  <a:srgbClr val="008556"/>
                </a:highlight>
                <a:uFillTx/>
                <a:latin typeface="Arial"/>
              </a:endParaRPr>
            </a:p>
          </p:txBody>
        </p:sp>
        <p:sp>
          <p:nvSpPr>
            <p:cNvPr id="42" name="Freeform 167">
              <a:extLst>
                <a:ext uri="{FF2B5EF4-FFF2-40B4-BE49-F238E27FC236}">
                  <a16:creationId xmlns:a16="http://schemas.microsoft.com/office/drawing/2014/main" id="{DC627E82-C290-13D1-0409-F41495F5B22C}"/>
                </a:ext>
              </a:extLst>
            </p:cNvPr>
            <p:cNvSpPr/>
            <p:nvPr/>
          </p:nvSpPr>
          <p:spPr>
            <a:xfrm>
              <a:off x="4963802" y="1732531"/>
              <a:ext cx="207660" cy="19686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22"/>
                <a:gd name="f7" fmla="val 235"/>
                <a:gd name="f8" fmla="val 74"/>
                <a:gd name="f9" fmla="val 7"/>
                <a:gd name="f10" fmla="val 72"/>
                <a:gd name="f11" fmla="val 10"/>
                <a:gd name="f12" fmla="val 80"/>
                <a:gd name="f13" fmla="val 94"/>
                <a:gd name="f14" fmla="val 3"/>
                <a:gd name="f15" fmla="val 114"/>
                <a:gd name="f16" fmla="val 146"/>
                <a:gd name="f17" fmla="val 25"/>
                <a:gd name="f18" fmla="val 155"/>
                <a:gd name="f19" fmla="val 21"/>
                <a:gd name="f20" fmla="val 197"/>
                <a:gd name="f21" fmla="val 40"/>
                <a:gd name="f22" fmla="val 212"/>
                <a:gd name="f23" fmla="val 50"/>
                <a:gd name="f24" fmla="val 217"/>
                <a:gd name="f25" fmla="val 57"/>
                <a:gd name="f26" fmla="val 213"/>
                <a:gd name="f27" fmla="val 65"/>
                <a:gd name="f28" fmla="val 206"/>
                <a:gd name="f29" fmla="val 68"/>
                <a:gd name="f30" fmla="val 71"/>
                <a:gd name="f31" fmla="val 186"/>
                <a:gd name="f32" fmla="val 189"/>
                <a:gd name="f33" fmla="val 88"/>
                <a:gd name="f34" fmla="val 209"/>
                <a:gd name="f35" fmla="val 107"/>
                <a:gd name="f36" fmla="val 119"/>
                <a:gd name="f37" fmla="val 134"/>
                <a:gd name="f38" fmla="val 199"/>
                <a:gd name="f39" fmla="val 151"/>
                <a:gd name="f40" fmla="val 193"/>
                <a:gd name="f41" fmla="val 166"/>
                <a:gd name="f42" fmla="val 204"/>
                <a:gd name="f43" fmla="val 179"/>
                <a:gd name="f44" fmla="val 195"/>
                <a:gd name="f45" fmla="val 218"/>
                <a:gd name="f46" fmla="val 226"/>
                <a:gd name="f47" fmla="val 233"/>
                <a:gd name="f48" fmla="val 202"/>
                <a:gd name="f49" fmla="val 228"/>
                <a:gd name="f50" fmla="val 192"/>
                <a:gd name="f51" fmla="val 214"/>
                <a:gd name="f52" fmla="val 185"/>
                <a:gd name="f53" fmla="val 182"/>
                <a:gd name="f54" fmla="val 175"/>
                <a:gd name="f55" fmla="val 208"/>
                <a:gd name="f56" fmla="val 164"/>
                <a:gd name="f57" fmla="val 219"/>
                <a:gd name="f58" fmla="val 159"/>
                <a:gd name="f59" fmla="val 220"/>
                <a:gd name="f60" fmla="val 144"/>
                <a:gd name="f61" fmla="val 137"/>
                <a:gd name="f62" fmla="val 215"/>
                <a:gd name="f63" fmla="val 122"/>
                <a:gd name="f64" fmla="val 110"/>
                <a:gd name="f65" fmla="val 102"/>
                <a:gd name="f66" fmla="val 211"/>
                <a:gd name="f67" fmla="val 92"/>
                <a:gd name="f68" fmla="val 201"/>
                <a:gd name="f69" fmla="val 85"/>
                <a:gd name="f70" fmla="val 191"/>
                <a:gd name="f71" fmla="val 77"/>
                <a:gd name="f72" fmla="val 188"/>
                <a:gd name="f73" fmla="val 61"/>
                <a:gd name="f74" fmla="val 52"/>
                <a:gd name="f75" fmla="val 45"/>
                <a:gd name="f76" fmla="val 36"/>
                <a:gd name="f77" fmla="val 30"/>
                <a:gd name="f78" fmla="val 181"/>
                <a:gd name="f79" fmla="val 174"/>
                <a:gd name="f80" fmla="val 23"/>
                <a:gd name="f81" fmla="val 157"/>
                <a:gd name="f82" fmla="val 17"/>
                <a:gd name="f83" fmla="val 141"/>
                <a:gd name="f84" fmla="val 5"/>
                <a:gd name="f85" fmla="val 132"/>
                <a:gd name="f86" fmla="val 124"/>
                <a:gd name="f87" fmla="val 112"/>
                <a:gd name="f88" fmla="val 101"/>
                <a:gd name="f89" fmla="val 37"/>
                <a:gd name="f90" fmla="val 54"/>
                <a:gd name="f91" fmla="val 41"/>
                <a:gd name="f92" fmla="val 34"/>
                <a:gd name="f93" fmla="val 60"/>
                <a:gd name="f94" fmla="val 27"/>
                <a:gd name="f95" fmla="val 67"/>
                <a:gd name="f96" fmla="val 20"/>
                <a:gd name="f97" fmla="+- 0 0 -90"/>
                <a:gd name="f98" fmla="*/ f3 1 222"/>
                <a:gd name="f99" fmla="*/ f4 1 235"/>
                <a:gd name="f100" fmla="+- f7 0 f5"/>
                <a:gd name="f101" fmla="+- f6 0 f5"/>
                <a:gd name="f102" fmla="*/ f97 f0 1"/>
                <a:gd name="f103" fmla="*/ f101 1 222"/>
                <a:gd name="f104" fmla="*/ f100 1 235"/>
                <a:gd name="f105" fmla="*/ f102 1 f2"/>
                <a:gd name="f106" fmla="*/ 72 1 f103"/>
                <a:gd name="f107" fmla="*/ 7 1 f104"/>
                <a:gd name="f108" fmla="*/ 80 1 f103"/>
                <a:gd name="f109" fmla="*/ 0 1 f104"/>
                <a:gd name="f110" fmla="*/ 114 1 f103"/>
                <a:gd name="f111" fmla="*/ 10 1 f104"/>
                <a:gd name="f112" fmla="*/ 155 1 f103"/>
                <a:gd name="f113" fmla="*/ 21 1 f104"/>
                <a:gd name="f114" fmla="*/ 212 1 f103"/>
                <a:gd name="f115" fmla="*/ 50 1 f104"/>
                <a:gd name="f116" fmla="*/ 213 1 f103"/>
                <a:gd name="f117" fmla="*/ 65 1 f104"/>
                <a:gd name="f118" fmla="*/ 197 1 f103"/>
                <a:gd name="f119" fmla="*/ 71 1 f104"/>
                <a:gd name="f120" fmla="*/ 189 1 f103"/>
                <a:gd name="f121" fmla="*/ 88 1 f104"/>
                <a:gd name="f122" fmla="*/ 119 1 f104"/>
                <a:gd name="f123" fmla="*/ 199 1 f103"/>
                <a:gd name="f124" fmla="*/ 151 1 f104"/>
                <a:gd name="f125" fmla="*/ 204 1 f103"/>
                <a:gd name="f126" fmla="*/ 179 1 f104"/>
                <a:gd name="f127" fmla="*/ 218 1 f103"/>
                <a:gd name="f128" fmla="*/ 204 1 f104"/>
                <a:gd name="f129" fmla="*/ 222 1 f103"/>
                <a:gd name="f130" fmla="*/ 233 1 f104"/>
                <a:gd name="f131" fmla="*/ 202 1 f103"/>
                <a:gd name="f132" fmla="*/ 235 1 f104"/>
                <a:gd name="f133" fmla="*/ 192 1 f103"/>
                <a:gd name="f134" fmla="*/ 214 1 f104"/>
                <a:gd name="f135" fmla="*/ 182 1 f103"/>
                <a:gd name="f136" fmla="*/ 164 1 f103"/>
                <a:gd name="f137" fmla="*/ 219 1 f104"/>
                <a:gd name="f138" fmla="*/ 144 1 f103"/>
                <a:gd name="f139" fmla="*/ 220 1 f104"/>
                <a:gd name="f140" fmla="*/ 122 1 f103"/>
                <a:gd name="f141" fmla="*/ 215 1 f104"/>
                <a:gd name="f142" fmla="*/ 110 1 f103"/>
                <a:gd name="f143" fmla="*/ 92 1 f103"/>
                <a:gd name="f144" fmla="*/ 201 1 f104"/>
                <a:gd name="f145" fmla="*/ 77 1 f103"/>
                <a:gd name="f146" fmla="*/ 188 1 f104"/>
                <a:gd name="f147" fmla="*/ 52 1 f103"/>
                <a:gd name="f148" fmla="*/ 199 1 f104"/>
                <a:gd name="f149" fmla="*/ 36 1 f103"/>
                <a:gd name="f150" fmla="*/ 191 1 f104"/>
                <a:gd name="f151" fmla="*/ 30 1 f103"/>
                <a:gd name="f152" fmla="*/ 174 1 f104"/>
                <a:gd name="f153" fmla="*/ 23 1 f103"/>
                <a:gd name="f154" fmla="*/ 157 1 f104"/>
                <a:gd name="f155" fmla="*/ 10 1 f103"/>
                <a:gd name="f156" fmla="*/ 141 1 f104"/>
                <a:gd name="f157" fmla="*/ 7 1 f103"/>
                <a:gd name="f158" fmla="*/ 132 1 f104"/>
                <a:gd name="f159" fmla="*/ 3 1 f103"/>
                <a:gd name="f160" fmla="*/ 112 1 f104"/>
                <a:gd name="f161" fmla="*/ 92 1 f104"/>
                <a:gd name="f162" fmla="*/ 37 1 f103"/>
                <a:gd name="f163" fmla="*/ 54 1 f104"/>
                <a:gd name="f164" fmla="*/ 41 1 f103"/>
                <a:gd name="f165" fmla="*/ 41 1 f104"/>
                <a:gd name="f166" fmla="*/ 60 1 f103"/>
                <a:gd name="f167" fmla="*/ 27 1 f104"/>
                <a:gd name="f168" fmla="*/ 67 1 f103"/>
                <a:gd name="f169" fmla="*/ 20 1 f104"/>
                <a:gd name="f170" fmla="*/ 0 1 f103"/>
                <a:gd name="f171" fmla="*/ f6 1 f103"/>
                <a:gd name="f172" fmla="*/ f7 1 f104"/>
                <a:gd name="f173" fmla="+- f105 0 f1"/>
                <a:gd name="f174" fmla="*/ f170 f98 1"/>
                <a:gd name="f175" fmla="*/ f171 f98 1"/>
                <a:gd name="f176" fmla="*/ f172 f99 1"/>
                <a:gd name="f177" fmla="*/ f109 f99 1"/>
                <a:gd name="f178" fmla="*/ f106 f98 1"/>
                <a:gd name="f179" fmla="*/ f107 f99 1"/>
                <a:gd name="f180" fmla="*/ f108 f98 1"/>
                <a:gd name="f181" fmla="*/ f110 f98 1"/>
                <a:gd name="f182" fmla="*/ f111 f99 1"/>
                <a:gd name="f183" fmla="*/ f112 f98 1"/>
                <a:gd name="f184" fmla="*/ f113 f99 1"/>
                <a:gd name="f185" fmla="*/ f114 f98 1"/>
                <a:gd name="f186" fmla="*/ f115 f99 1"/>
                <a:gd name="f187" fmla="*/ f116 f98 1"/>
                <a:gd name="f188" fmla="*/ f117 f99 1"/>
                <a:gd name="f189" fmla="*/ f118 f98 1"/>
                <a:gd name="f190" fmla="*/ f119 f99 1"/>
                <a:gd name="f191" fmla="*/ f120 f98 1"/>
                <a:gd name="f192" fmla="*/ f121 f99 1"/>
                <a:gd name="f193" fmla="*/ f122 f99 1"/>
                <a:gd name="f194" fmla="*/ f123 f98 1"/>
                <a:gd name="f195" fmla="*/ f124 f99 1"/>
                <a:gd name="f196" fmla="*/ f125 f98 1"/>
                <a:gd name="f197" fmla="*/ f126 f99 1"/>
                <a:gd name="f198" fmla="*/ f127 f98 1"/>
                <a:gd name="f199" fmla="*/ f128 f99 1"/>
                <a:gd name="f200" fmla="*/ f129 f98 1"/>
                <a:gd name="f201" fmla="*/ f130 f99 1"/>
                <a:gd name="f202" fmla="*/ f131 f98 1"/>
                <a:gd name="f203" fmla="*/ f132 f99 1"/>
                <a:gd name="f204" fmla="*/ f133 f98 1"/>
                <a:gd name="f205" fmla="*/ f134 f99 1"/>
                <a:gd name="f206" fmla="*/ f135 f98 1"/>
                <a:gd name="f207" fmla="*/ f136 f98 1"/>
                <a:gd name="f208" fmla="*/ f137 f99 1"/>
                <a:gd name="f209" fmla="*/ f138 f98 1"/>
                <a:gd name="f210" fmla="*/ f139 f99 1"/>
                <a:gd name="f211" fmla="*/ f140 f98 1"/>
                <a:gd name="f212" fmla="*/ f141 f99 1"/>
                <a:gd name="f213" fmla="*/ f142 f98 1"/>
                <a:gd name="f214" fmla="*/ f143 f98 1"/>
                <a:gd name="f215" fmla="*/ f144 f99 1"/>
                <a:gd name="f216" fmla="*/ f145 f98 1"/>
                <a:gd name="f217" fmla="*/ f146 f99 1"/>
                <a:gd name="f218" fmla="*/ f147 f98 1"/>
                <a:gd name="f219" fmla="*/ f148 f99 1"/>
                <a:gd name="f220" fmla="*/ f149 f98 1"/>
                <a:gd name="f221" fmla="*/ f150 f99 1"/>
                <a:gd name="f222" fmla="*/ f151 f98 1"/>
                <a:gd name="f223" fmla="*/ f152 f99 1"/>
                <a:gd name="f224" fmla="*/ f153 f98 1"/>
                <a:gd name="f225" fmla="*/ f154 f99 1"/>
                <a:gd name="f226" fmla="*/ f155 f98 1"/>
                <a:gd name="f227" fmla="*/ f156 f99 1"/>
                <a:gd name="f228" fmla="*/ f157 f98 1"/>
                <a:gd name="f229" fmla="*/ f158 f99 1"/>
                <a:gd name="f230" fmla="*/ f159 f98 1"/>
                <a:gd name="f231" fmla="*/ f160 f99 1"/>
                <a:gd name="f232" fmla="*/ f161 f99 1"/>
                <a:gd name="f233" fmla="*/ f162 f98 1"/>
                <a:gd name="f234" fmla="*/ f163 f99 1"/>
                <a:gd name="f235" fmla="*/ f164 f98 1"/>
                <a:gd name="f236" fmla="*/ f165 f99 1"/>
                <a:gd name="f237" fmla="*/ f166 f98 1"/>
                <a:gd name="f238" fmla="*/ f167 f99 1"/>
                <a:gd name="f239" fmla="*/ f168 f98 1"/>
                <a:gd name="f240" fmla="*/ f169 f9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73">
                  <a:pos x="f178" y="f179"/>
                </a:cxn>
                <a:cxn ang="f173">
                  <a:pos x="f180" y="f177"/>
                </a:cxn>
                <a:cxn ang="f173">
                  <a:pos x="f181" y="f182"/>
                </a:cxn>
                <a:cxn ang="f173">
                  <a:pos x="f183" y="f184"/>
                </a:cxn>
                <a:cxn ang="f173">
                  <a:pos x="f185" y="f186"/>
                </a:cxn>
                <a:cxn ang="f173">
                  <a:pos x="f187" y="f188"/>
                </a:cxn>
                <a:cxn ang="f173">
                  <a:pos x="f189" y="f190"/>
                </a:cxn>
                <a:cxn ang="f173">
                  <a:pos x="f191" y="f192"/>
                </a:cxn>
                <a:cxn ang="f173">
                  <a:pos x="f185" y="f193"/>
                </a:cxn>
                <a:cxn ang="f173">
                  <a:pos x="f194" y="f195"/>
                </a:cxn>
                <a:cxn ang="f173">
                  <a:pos x="f196" y="f197"/>
                </a:cxn>
                <a:cxn ang="f173">
                  <a:pos x="f198" y="f199"/>
                </a:cxn>
                <a:cxn ang="f173">
                  <a:pos x="f200" y="f201"/>
                </a:cxn>
                <a:cxn ang="f173">
                  <a:pos x="f202" y="f203"/>
                </a:cxn>
                <a:cxn ang="f173">
                  <a:pos x="f204" y="f205"/>
                </a:cxn>
                <a:cxn ang="f173">
                  <a:pos x="f206" y="f199"/>
                </a:cxn>
                <a:cxn ang="f173">
                  <a:pos x="f207" y="f208"/>
                </a:cxn>
                <a:cxn ang="f173">
                  <a:pos x="f209" y="f210"/>
                </a:cxn>
                <a:cxn ang="f173">
                  <a:pos x="f211" y="f212"/>
                </a:cxn>
                <a:cxn ang="f173">
                  <a:pos x="f213" y="f212"/>
                </a:cxn>
                <a:cxn ang="f173">
                  <a:pos x="f214" y="f215"/>
                </a:cxn>
                <a:cxn ang="f173">
                  <a:pos x="f216" y="f217"/>
                </a:cxn>
                <a:cxn ang="f173">
                  <a:pos x="f218" y="f219"/>
                </a:cxn>
                <a:cxn ang="f173">
                  <a:pos x="f220" y="f221"/>
                </a:cxn>
                <a:cxn ang="f173">
                  <a:pos x="f222" y="f223"/>
                </a:cxn>
                <a:cxn ang="f173">
                  <a:pos x="f224" y="f225"/>
                </a:cxn>
                <a:cxn ang="f173">
                  <a:pos x="f226" y="f227"/>
                </a:cxn>
                <a:cxn ang="f173">
                  <a:pos x="f228" y="f229"/>
                </a:cxn>
                <a:cxn ang="f173">
                  <a:pos x="f230" y="f231"/>
                </a:cxn>
                <a:cxn ang="f173">
                  <a:pos x="f228" y="f232"/>
                </a:cxn>
                <a:cxn ang="f173">
                  <a:pos x="f233" y="f234"/>
                </a:cxn>
                <a:cxn ang="f173">
                  <a:pos x="f235" y="f236"/>
                </a:cxn>
                <a:cxn ang="f173">
                  <a:pos x="f237" y="f238"/>
                </a:cxn>
                <a:cxn ang="f173">
                  <a:pos x="f239" y="f240"/>
                </a:cxn>
              </a:cxnLst>
              <a:rect l="f174" t="f177" r="f175" b="f176"/>
              <a:pathLst>
                <a:path w="222" h="235">
                  <a:moveTo>
                    <a:pt x="f8" y="f9"/>
                  </a:moveTo>
                  <a:lnTo>
                    <a:pt x="f10" y="f9"/>
                  </a:lnTo>
                  <a:lnTo>
                    <a:pt x="f8" y="f11"/>
                  </a:lnTo>
                  <a:lnTo>
                    <a:pt x="f12" y="f5"/>
                  </a:lnTo>
                  <a:lnTo>
                    <a:pt x="f13" y="f14"/>
                  </a:lnTo>
                  <a:lnTo>
                    <a:pt x="f15" y="f11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28" y="f29"/>
                  </a:lnTo>
                  <a:lnTo>
                    <a:pt x="f20" y="f30"/>
                  </a:lnTo>
                  <a:lnTo>
                    <a:pt x="f31" y="f8"/>
                  </a:lnTo>
                  <a:lnTo>
                    <a:pt x="f32" y="f33"/>
                  </a:lnTo>
                  <a:lnTo>
                    <a:pt x="f34" y="f35"/>
                  </a:lnTo>
                  <a:lnTo>
                    <a:pt x="f22" y="f36"/>
                  </a:lnTo>
                  <a:lnTo>
                    <a:pt x="f34" y="f37"/>
                  </a:lnTo>
                  <a:lnTo>
                    <a:pt x="f38" y="f39"/>
                  </a:lnTo>
                  <a:lnTo>
                    <a:pt x="f40" y="f41"/>
                  </a:lnTo>
                  <a:lnTo>
                    <a:pt x="f42" y="f43"/>
                  </a:lnTo>
                  <a:lnTo>
                    <a:pt x="f24" y="f44"/>
                  </a:lnTo>
                  <a:lnTo>
                    <a:pt x="f45" y="f42"/>
                  </a:lnTo>
                  <a:lnTo>
                    <a:pt x="f6" y="f46"/>
                  </a:lnTo>
                  <a:lnTo>
                    <a:pt x="f6" y="f47"/>
                  </a:lnTo>
                  <a:lnTo>
                    <a:pt x="f26" y="f7"/>
                  </a:lnTo>
                  <a:lnTo>
                    <a:pt x="f48" y="f7"/>
                  </a:lnTo>
                  <a:lnTo>
                    <a:pt x="f20" y="f49"/>
                  </a:lnTo>
                  <a:lnTo>
                    <a:pt x="f50" y="f51"/>
                  </a:lnTo>
                  <a:lnTo>
                    <a:pt x="f52" y="f42"/>
                  </a:lnTo>
                  <a:lnTo>
                    <a:pt x="f53" y="f42"/>
                  </a:lnTo>
                  <a:lnTo>
                    <a:pt x="f54" y="f55"/>
                  </a:lnTo>
                  <a:lnTo>
                    <a:pt x="f56" y="f57"/>
                  </a:lnTo>
                  <a:lnTo>
                    <a:pt x="f58" y="f59"/>
                  </a:lnTo>
                  <a:lnTo>
                    <a:pt x="f60" y="f59"/>
                  </a:lnTo>
                  <a:lnTo>
                    <a:pt x="f61" y="f62"/>
                  </a:lnTo>
                  <a:lnTo>
                    <a:pt x="f63" y="f62"/>
                  </a:lnTo>
                  <a:lnTo>
                    <a:pt x="f15" y="f57"/>
                  </a:lnTo>
                  <a:lnTo>
                    <a:pt x="f64" y="f62"/>
                  </a:lnTo>
                  <a:lnTo>
                    <a:pt x="f65" y="f66"/>
                  </a:lnTo>
                  <a:lnTo>
                    <a:pt x="f67" y="f68"/>
                  </a:lnTo>
                  <a:lnTo>
                    <a:pt x="f69" y="f70"/>
                  </a:lnTo>
                  <a:lnTo>
                    <a:pt x="f71" y="f72"/>
                  </a:lnTo>
                  <a:lnTo>
                    <a:pt x="f73" y="f44"/>
                  </a:lnTo>
                  <a:lnTo>
                    <a:pt x="f74" y="f38"/>
                  </a:lnTo>
                  <a:lnTo>
                    <a:pt x="f75" y="f38"/>
                  </a:lnTo>
                  <a:lnTo>
                    <a:pt x="f76" y="f70"/>
                  </a:lnTo>
                  <a:lnTo>
                    <a:pt x="f77" y="f78"/>
                  </a:lnTo>
                  <a:lnTo>
                    <a:pt x="f77" y="f79"/>
                  </a:lnTo>
                  <a:lnTo>
                    <a:pt x="f77" y="f56"/>
                  </a:lnTo>
                  <a:lnTo>
                    <a:pt x="f80" y="f81"/>
                  </a:lnTo>
                  <a:lnTo>
                    <a:pt x="f82" y="f16"/>
                  </a:lnTo>
                  <a:lnTo>
                    <a:pt x="f11" y="f83"/>
                  </a:lnTo>
                  <a:lnTo>
                    <a:pt x="f84" y="f83"/>
                  </a:lnTo>
                  <a:lnTo>
                    <a:pt x="f9" y="f85"/>
                  </a:lnTo>
                  <a:lnTo>
                    <a:pt x="f84" y="f86"/>
                  </a:lnTo>
                  <a:lnTo>
                    <a:pt x="f14" y="f87"/>
                  </a:lnTo>
                  <a:lnTo>
                    <a:pt x="f5" y="f88"/>
                  </a:lnTo>
                  <a:lnTo>
                    <a:pt x="f9" y="f67"/>
                  </a:lnTo>
                  <a:lnTo>
                    <a:pt x="f80" y="f8"/>
                  </a:lnTo>
                  <a:lnTo>
                    <a:pt x="f89" y="f90"/>
                  </a:lnTo>
                  <a:lnTo>
                    <a:pt x="f91" y="f74"/>
                  </a:lnTo>
                  <a:lnTo>
                    <a:pt x="f91" y="f91"/>
                  </a:lnTo>
                  <a:lnTo>
                    <a:pt x="f23" y="f92"/>
                  </a:lnTo>
                  <a:lnTo>
                    <a:pt x="f93" y="f94"/>
                  </a:lnTo>
                  <a:lnTo>
                    <a:pt x="f10" y="f17"/>
                  </a:lnTo>
                  <a:lnTo>
                    <a:pt x="f95" y="f96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D9D9D9"/>
            </a:solidFill>
            <a:ln w="6345" cap="flat">
              <a:solidFill>
                <a:srgbClr val="A6A6A6"/>
              </a:solidFill>
              <a:prstDash val="solid"/>
              <a:round/>
            </a:ln>
          </p:spPr>
          <p:txBody>
            <a:bodyPr vert="horz" wrap="square" lIns="68580" tIns="34290" rIns="68580" bIns="3429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290" rtl="0" fontAlgn="auto" hangingPunct="1">
                <a:lnSpc>
                  <a:spcPct val="100000"/>
                </a:lnSpc>
                <a:spcBef>
                  <a:spcPts val="50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000" b="0" i="0" u="none" strike="noStrike" kern="0" cap="none" spc="0" baseline="0">
                <a:solidFill>
                  <a:srgbClr val="133B9C"/>
                </a:solidFill>
                <a:highlight>
                  <a:srgbClr val="008556"/>
                </a:highlight>
                <a:uFillTx/>
                <a:latin typeface="Arial"/>
              </a:endParaRPr>
            </a:p>
          </p:txBody>
        </p:sp>
        <p:sp>
          <p:nvSpPr>
            <p:cNvPr id="43" name="Freeform 168">
              <a:extLst>
                <a:ext uri="{FF2B5EF4-FFF2-40B4-BE49-F238E27FC236}">
                  <a16:creationId xmlns:a16="http://schemas.microsoft.com/office/drawing/2014/main" id="{7E7A2E9B-A24B-956B-970A-2879E84002FB}"/>
                </a:ext>
              </a:extLst>
            </p:cNvPr>
            <p:cNvSpPr/>
            <p:nvPr/>
          </p:nvSpPr>
          <p:spPr>
            <a:xfrm>
              <a:off x="4719666" y="1713265"/>
              <a:ext cx="346100" cy="350178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70"/>
                <a:gd name="f7" fmla="val 418"/>
                <a:gd name="f8" fmla="val 288"/>
                <a:gd name="f9" fmla="val 4"/>
                <a:gd name="f10" fmla="val 302"/>
                <a:gd name="f11" fmla="val 313"/>
                <a:gd name="f12" fmla="val 3"/>
                <a:gd name="f13" fmla="val 327"/>
                <a:gd name="f14" fmla="val 10"/>
                <a:gd name="f15" fmla="val 343"/>
                <a:gd name="f16" fmla="val 17"/>
                <a:gd name="f17" fmla="val 22"/>
                <a:gd name="f18" fmla="val 338"/>
                <a:gd name="f19" fmla="val 28"/>
                <a:gd name="f20" fmla="val 40"/>
                <a:gd name="f21" fmla="val 330"/>
                <a:gd name="f22" fmla="val 44"/>
                <a:gd name="f23" fmla="val 320"/>
                <a:gd name="f24" fmla="val 48"/>
                <a:gd name="f25" fmla="val 55"/>
                <a:gd name="f26" fmla="val 64"/>
                <a:gd name="f27" fmla="val 300"/>
                <a:gd name="f28" fmla="val 70"/>
                <a:gd name="f29" fmla="val 75"/>
                <a:gd name="f30" fmla="val 295"/>
                <a:gd name="f31" fmla="val 77"/>
                <a:gd name="f32" fmla="val 291"/>
                <a:gd name="f33" fmla="val 87"/>
                <a:gd name="f34" fmla="val 282"/>
                <a:gd name="f35" fmla="val 94"/>
                <a:gd name="f36" fmla="val 273"/>
                <a:gd name="f37" fmla="val 104"/>
                <a:gd name="f38" fmla="val 266"/>
                <a:gd name="f39" fmla="val 115"/>
                <a:gd name="f40" fmla="val 261"/>
                <a:gd name="f41" fmla="val 122"/>
                <a:gd name="f42" fmla="val 262"/>
                <a:gd name="f43" fmla="val 135"/>
                <a:gd name="f44" fmla="val 268"/>
                <a:gd name="f45" fmla="val 144"/>
                <a:gd name="f46" fmla="val 151"/>
                <a:gd name="f47" fmla="val 162"/>
                <a:gd name="f48" fmla="val 275"/>
                <a:gd name="f49" fmla="val 169"/>
                <a:gd name="f50" fmla="val 178"/>
                <a:gd name="f51" fmla="val 184"/>
                <a:gd name="f52" fmla="val 189"/>
                <a:gd name="f53" fmla="val 198"/>
                <a:gd name="f54" fmla="val 293"/>
                <a:gd name="f55" fmla="val 209"/>
                <a:gd name="f56" fmla="val 298"/>
                <a:gd name="f57" fmla="val 218"/>
                <a:gd name="f58" fmla="val 305"/>
                <a:gd name="f59" fmla="val 223"/>
                <a:gd name="f60" fmla="val 318"/>
                <a:gd name="f61" fmla="val 214"/>
                <a:gd name="f62" fmla="val 335"/>
                <a:gd name="f63" fmla="val 345"/>
                <a:gd name="f64" fmla="val 353"/>
                <a:gd name="f65" fmla="val 363"/>
                <a:gd name="f66" fmla="val 234"/>
                <a:gd name="f67" fmla="val 243"/>
                <a:gd name="f68" fmla="val 358"/>
                <a:gd name="f69" fmla="val 249"/>
                <a:gd name="f70" fmla="val 251"/>
                <a:gd name="f71" fmla="val 322"/>
                <a:gd name="f72" fmla="val 256"/>
                <a:gd name="f73" fmla="val 263"/>
                <a:gd name="f74" fmla="val 274"/>
                <a:gd name="f75" fmla="val 283"/>
                <a:gd name="f76" fmla="val 242"/>
                <a:gd name="f77" fmla="val 289"/>
                <a:gd name="f78" fmla="val 301"/>
                <a:gd name="f79" fmla="val 236"/>
                <a:gd name="f80" fmla="val 351"/>
                <a:gd name="f81" fmla="val 233"/>
                <a:gd name="f82" fmla="val 361"/>
                <a:gd name="f83" fmla="val 246"/>
                <a:gd name="f84" fmla="val 388"/>
                <a:gd name="f85" fmla="val 398"/>
                <a:gd name="f86" fmla="val 408"/>
                <a:gd name="f87" fmla="val 413"/>
                <a:gd name="f88" fmla="val 415"/>
                <a:gd name="f89" fmla="val 228"/>
                <a:gd name="f90" fmla="val 405"/>
                <a:gd name="f91" fmla="val 224"/>
                <a:gd name="f92" fmla="val 393"/>
                <a:gd name="f93" fmla="val 204"/>
                <a:gd name="f94" fmla="val 383"/>
                <a:gd name="f95" fmla="val 188"/>
                <a:gd name="f96" fmla="val 381"/>
                <a:gd name="f97" fmla="val 176"/>
                <a:gd name="f98" fmla="val 385"/>
                <a:gd name="f99" fmla="val 172"/>
                <a:gd name="f100" fmla="val 161"/>
                <a:gd name="f101" fmla="val 396"/>
                <a:gd name="f102" fmla="val 152"/>
                <a:gd name="f103" fmla="val 141"/>
                <a:gd name="f104" fmla="val 129"/>
                <a:gd name="f105" fmla="val 390"/>
                <a:gd name="f106" fmla="val 121"/>
                <a:gd name="f107" fmla="val 112"/>
                <a:gd name="f108" fmla="val 105"/>
                <a:gd name="f109" fmla="val 102"/>
                <a:gd name="f110" fmla="val 378"/>
                <a:gd name="f111" fmla="val 85"/>
                <a:gd name="f112" fmla="val 373"/>
                <a:gd name="f113" fmla="val 80"/>
                <a:gd name="f114" fmla="val 365"/>
                <a:gd name="f115" fmla="val 67"/>
                <a:gd name="f116" fmla="val 60"/>
                <a:gd name="f117" fmla="val 49"/>
                <a:gd name="f118" fmla="val 333"/>
                <a:gd name="f119" fmla="val 42"/>
                <a:gd name="f120" fmla="val 328"/>
                <a:gd name="f121" fmla="val 35"/>
                <a:gd name="f122" fmla="val 321"/>
                <a:gd name="f123" fmla="val 29"/>
                <a:gd name="f124" fmla="val 314"/>
                <a:gd name="f125" fmla="val 308"/>
                <a:gd name="f126" fmla="val 296"/>
                <a:gd name="f127" fmla="val 294"/>
                <a:gd name="f128" fmla="val 15"/>
                <a:gd name="f129" fmla="val 8"/>
                <a:gd name="f130" fmla="val 278"/>
                <a:gd name="f131" fmla="val 269"/>
                <a:gd name="f132" fmla="val 258"/>
                <a:gd name="f133" fmla="val 13"/>
                <a:gd name="f134" fmla="val 20"/>
                <a:gd name="f135" fmla="val 237"/>
                <a:gd name="f136" fmla="val 229"/>
                <a:gd name="f137" fmla="val 222"/>
                <a:gd name="f138" fmla="val 24"/>
                <a:gd name="f139" fmla="val 197"/>
                <a:gd name="f140" fmla="val 191"/>
                <a:gd name="f141" fmla="val 182"/>
                <a:gd name="f142" fmla="val 194"/>
                <a:gd name="f143" fmla="val 69"/>
                <a:gd name="f144" fmla="val 89"/>
                <a:gd name="f145" fmla="val 96"/>
                <a:gd name="f146" fmla="val 177"/>
                <a:gd name="f147" fmla="val 167"/>
                <a:gd name="f148" fmla="val 120"/>
                <a:gd name="f149" fmla="val 140"/>
                <a:gd name="f150" fmla="val 136"/>
                <a:gd name="f151" fmla="val 137"/>
                <a:gd name="f152" fmla="val 143"/>
                <a:gd name="f153" fmla="val 142"/>
                <a:gd name="f154" fmla="val 154"/>
                <a:gd name="f155" fmla="val 124"/>
                <a:gd name="f156" fmla="val 181"/>
                <a:gd name="f157" fmla="val 186"/>
                <a:gd name="f158" fmla="val 206"/>
                <a:gd name="f159" fmla="val 97"/>
                <a:gd name="f160" fmla="val 199"/>
                <a:gd name="f161" fmla="val 90"/>
                <a:gd name="f162" fmla="val 84"/>
                <a:gd name="f163" fmla="val 183"/>
                <a:gd name="f164" fmla="val 73"/>
                <a:gd name="f165" fmla="val 179"/>
                <a:gd name="f166" fmla="val 62"/>
                <a:gd name="f167" fmla="val 216"/>
                <a:gd name="f168" fmla="val 53"/>
                <a:gd name="f169" fmla="val 221"/>
                <a:gd name="f170" fmla="val 253"/>
                <a:gd name="f171" fmla="+- 0 0 -90"/>
                <a:gd name="f172" fmla="*/ f3 1 370"/>
                <a:gd name="f173" fmla="*/ f4 1 418"/>
                <a:gd name="f174" fmla="+- f7 0 f5"/>
                <a:gd name="f175" fmla="+- f6 0 f5"/>
                <a:gd name="f176" fmla="*/ f171 f0 1"/>
                <a:gd name="f177" fmla="*/ f175 1 370"/>
                <a:gd name="f178" fmla="*/ f174 1 418"/>
                <a:gd name="f179" fmla="*/ f176 1 f2"/>
                <a:gd name="f180" fmla="*/ 313 1 f177"/>
                <a:gd name="f181" fmla="*/ 3 1 f178"/>
                <a:gd name="f182" fmla="*/ 343 1 f177"/>
                <a:gd name="f183" fmla="*/ 22 1 f178"/>
                <a:gd name="f184" fmla="*/ 330 1 f177"/>
                <a:gd name="f185" fmla="*/ 44 1 f178"/>
                <a:gd name="f186" fmla="*/ 302 1 f177"/>
                <a:gd name="f187" fmla="*/ 64 1 f178"/>
                <a:gd name="f188" fmla="*/ 295 1 f177"/>
                <a:gd name="f189" fmla="*/ 77 1 f178"/>
                <a:gd name="f190" fmla="*/ 273 1 f177"/>
                <a:gd name="f191" fmla="*/ 104 1 f178"/>
                <a:gd name="f192" fmla="*/ 262 1 f177"/>
                <a:gd name="f193" fmla="*/ 135 1 f178"/>
                <a:gd name="f194" fmla="*/ 162 1 f178"/>
                <a:gd name="f195" fmla="*/ 288 1 f177"/>
                <a:gd name="f196" fmla="*/ 184 1 f178"/>
                <a:gd name="f197" fmla="*/ 293 1 f177"/>
                <a:gd name="f198" fmla="*/ 209 1 f178"/>
                <a:gd name="f199" fmla="*/ 318 1 f177"/>
                <a:gd name="f200" fmla="*/ 218 1 f178"/>
                <a:gd name="f201" fmla="*/ 345 1 f177"/>
                <a:gd name="f202" fmla="*/ 214 1 f178"/>
                <a:gd name="f203" fmla="*/ 370 1 f177"/>
                <a:gd name="f204" fmla="*/ 243 1 f178"/>
                <a:gd name="f205" fmla="*/ 322 1 f177"/>
                <a:gd name="f206" fmla="*/ 256 1 f178"/>
                <a:gd name="f207" fmla="*/ 251 1 f177"/>
                <a:gd name="f208" fmla="*/ 283 1 f178"/>
                <a:gd name="f209" fmla="*/ 242 1 f177"/>
                <a:gd name="f210" fmla="*/ 318 1 f178"/>
                <a:gd name="f211" fmla="*/ 246 1 f177"/>
                <a:gd name="f212" fmla="*/ 370 1 f178"/>
                <a:gd name="f213" fmla="*/ 408 1 f178"/>
                <a:gd name="f214" fmla="*/ 236 1 f177"/>
                <a:gd name="f215" fmla="*/ 415 1 f178"/>
                <a:gd name="f216" fmla="*/ 218 1 f177"/>
                <a:gd name="f217" fmla="*/ 388 1 f178"/>
                <a:gd name="f218" fmla="*/ 176 1 f177"/>
                <a:gd name="f219" fmla="*/ 385 1 f178"/>
                <a:gd name="f220" fmla="*/ 152 1 f177"/>
                <a:gd name="f221" fmla="*/ 121 1 f177"/>
                <a:gd name="f222" fmla="*/ 102 1 f177"/>
                <a:gd name="f223" fmla="*/ 381 1 f178"/>
                <a:gd name="f224" fmla="*/ 80 1 f177"/>
                <a:gd name="f225" fmla="*/ 365 1 f178"/>
                <a:gd name="f226" fmla="*/ 49 1 f177"/>
                <a:gd name="f227" fmla="*/ 333 1 f178"/>
                <a:gd name="f228" fmla="*/ 29 1 f177"/>
                <a:gd name="f229" fmla="*/ 314 1 f178"/>
                <a:gd name="f230" fmla="*/ 28 1 f177"/>
                <a:gd name="f231" fmla="*/ 294 1 f178"/>
                <a:gd name="f232" fmla="*/ 8 1 f177"/>
                <a:gd name="f233" fmla="*/ 289 1 f178"/>
                <a:gd name="f234" fmla="*/ 3 1 f177"/>
                <a:gd name="f235" fmla="*/ 258 1 f178"/>
                <a:gd name="f236" fmla="*/ 20 1 f177"/>
                <a:gd name="f237" fmla="*/ 237 1 f178"/>
                <a:gd name="f238" fmla="*/ 24 1 f177"/>
                <a:gd name="f239" fmla="*/ 191 1 f178"/>
                <a:gd name="f240" fmla="*/ 55 1 f177"/>
                <a:gd name="f241" fmla="*/ 194 1 f178"/>
                <a:gd name="f242" fmla="*/ 96 1 f177"/>
                <a:gd name="f243" fmla="*/ 120 1 f177"/>
                <a:gd name="f244" fmla="*/ 151 1 f178"/>
                <a:gd name="f245" fmla="*/ 143 1 f177"/>
                <a:gd name="f246" fmla="*/ 142 1 f178"/>
                <a:gd name="f247" fmla="*/ 167 1 f177"/>
                <a:gd name="f248" fmla="*/ 144 1 f178"/>
                <a:gd name="f249" fmla="*/ 115 1 f178"/>
                <a:gd name="f250" fmla="*/ 206 1 f177"/>
                <a:gd name="f251" fmla="*/ 97 1 f178"/>
                <a:gd name="f252" fmla="*/ 188 1 f177"/>
                <a:gd name="f253" fmla="*/ 84 1 f178"/>
                <a:gd name="f254" fmla="*/ 181 1 f177"/>
                <a:gd name="f255" fmla="*/ 73 1 f178"/>
                <a:gd name="f256" fmla="*/ 60 1 f178"/>
                <a:gd name="f257" fmla="*/ 55 1 f178"/>
                <a:gd name="f258" fmla="*/ 228 1 f177"/>
                <a:gd name="f259" fmla="*/ 42 1 f178"/>
                <a:gd name="f260" fmla="*/ 253 1 f177"/>
                <a:gd name="f261" fmla="*/ 20 1 f178"/>
                <a:gd name="f262" fmla="*/ 275 1 f177"/>
                <a:gd name="f263" fmla="*/ 10 1 f178"/>
                <a:gd name="f264" fmla="*/ 0 1 f177"/>
                <a:gd name="f265" fmla="*/ f6 1 f177"/>
                <a:gd name="f266" fmla="*/ 0 1 f178"/>
                <a:gd name="f267" fmla="*/ f7 1 f178"/>
                <a:gd name="f268" fmla="+- f179 0 f1"/>
                <a:gd name="f269" fmla="*/ f264 f172 1"/>
                <a:gd name="f270" fmla="*/ f265 f172 1"/>
                <a:gd name="f271" fmla="*/ f267 f173 1"/>
                <a:gd name="f272" fmla="*/ f266 f173 1"/>
                <a:gd name="f273" fmla="*/ f180 f172 1"/>
                <a:gd name="f274" fmla="*/ f181 f173 1"/>
                <a:gd name="f275" fmla="*/ f182 f172 1"/>
                <a:gd name="f276" fmla="*/ f183 f173 1"/>
                <a:gd name="f277" fmla="*/ f184 f172 1"/>
                <a:gd name="f278" fmla="*/ f185 f173 1"/>
                <a:gd name="f279" fmla="*/ f186 f172 1"/>
                <a:gd name="f280" fmla="*/ f187 f173 1"/>
                <a:gd name="f281" fmla="*/ f188 f172 1"/>
                <a:gd name="f282" fmla="*/ f189 f173 1"/>
                <a:gd name="f283" fmla="*/ f190 f172 1"/>
                <a:gd name="f284" fmla="*/ f191 f173 1"/>
                <a:gd name="f285" fmla="*/ f192 f172 1"/>
                <a:gd name="f286" fmla="*/ f193 f173 1"/>
                <a:gd name="f287" fmla="*/ f194 f173 1"/>
                <a:gd name="f288" fmla="*/ f195 f172 1"/>
                <a:gd name="f289" fmla="*/ f196 f173 1"/>
                <a:gd name="f290" fmla="*/ f197 f172 1"/>
                <a:gd name="f291" fmla="*/ f198 f173 1"/>
                <a:gd name="f292" fmla="*/ f199 f172 1"/>
                <a:gd name="f293" fmla="*/ f200 f173 1"/>
                <a:gd name="f294" fmla="*/ f201 f172 1"/>
                <a:gd name="f295" fmla="*/ f202 f173 1"/>
                <a:gd name="f296" fmla="*/ f203 f172 1"/>
                <a:gd name="f297" fmla="*/ f204 f173 1"/>
                <a:gd name="f298" fmla="*/ f205 f172 1"/>
                <a:gd name="f299" fmla="*/ f206 f173 1"/>
                <a:gd name="f300" fmla="*/ f207 f172 1"/>
                <a:gd name="f301" fmla="*/ f208 f173 1"/>
                <a:gd name="f302" fmla="*/ f209 f172 1"/>
                <a:gd name="f303" fmla="*/ f210 f173 1"/>
                <a:gd name="f304" fmla="*/ f211 f172 1"/>
                <a:gd name="f305" fmla="*/ f212 f173 1"/>
                <a:gd name="f306" fmla="*/ f213 f173 1"/>
                <a:gd name="f307" fmla="*/ f214 f172 1"/>
                <a:gd name="f308" fmla="*/ f215 f173 1"/>
                <a:gd name="f309" fmla="*/ f216 f172 1"/>
                <a:gd name="f310" fmla="*/ f217 f173 1"/>
                <a:gd name="f311" fmla="*/ f218 f172 1"/>
                <a:gd name="f312" fmla="*/ f219 f173 1"/>
                <a:gd name="f313" fmla="*/ f220 f172 1"/>
                <a:gd name="f314" fmla="*/ f221 f172 1"/>
                <a:gd name="f315" fmla="*/ f222 f172 1"/>
                <a:gd name="f316" fmla="*/ f223 f173 1"/>
                <a:gd name="f317" fmla="*/ f224 f172 1"/>
                <a:gd name="f318" fmla="*/ f225 f173 1"/>
                <a:gd name="f319" fmla="*/ f226 f172 1"/>
                <a:gd name="f320" fmla="*/ f227 f173 1"/>
                <a:gd name="f321" fmla="*/ f228 f172 1"/>
                <a:gd name="f322" fmla="*/ f229 f173 1"/>
                <a:gd name="f323" fmla="*/ f230 f172 1"/>
                <a:gd name="f324" fmla="*/ f231 f173 1"/>
                <a:gd name="f325" fmla="*/ f232 f172 1"/>
                <a:gd name="f326" fmla="*/ f233 f173 1"/>
                <a:gd name="f327" fmla="*/ f234 f172 1"/>
                <a:gd name="f328" fmla="*/ f235 f173 1"/>
                <a:gd name="f329" fmla="*/ f236 f172 1"/>
                <a:gd name="f330" fmla="*/ f237 f173 1"/>
                <a:gd name="f331" fmla="*/ f238 f172 1"/>
                <a:gd name="f332" fmla="*/ f239 f173 1"/>
                <a:gd name="f333" fmla="*/ f240 f172 1"/>
                <a:gd name="f334" fmla="*/ f241 f173 1"/>
                <a:gd name="f335" fmla="*/ f242 f172 1"/>
                <a:gd name="f336" fmla="*/ f243 f172 1"/>
                <a:gd name="f337" fmla="*/ f244 f173 1"/>
                <a:gd name="f338" fmla="*/ f245 f172 1"/>
                <a:gd name="f339" fmla="*/ f246 f173 1"/>
                <a:gd name="f340" fmla="*/ f247 f172 1"/>
                <a:gd name="f341" fmla="*/ f248 f173 1"/>
                <a:gd name="f342" fmla="*/ f249 f173 1"/>
                <a:gd name="f343" fmla="*/ f250 f172 1"/>
                <a:gd name="f344" fmla="*/ f251 f173 1"/>
                <a:gd name="f345" fmla="*/ f252 f172 1"/>
                <a:gd name="f346" fmla="*/ f253 f173 1"/>
                <a:gd name="f347" fmla="*/ f254 f172 1"/>
                <a:gd name="f348" fmla="*/ f255 f173 1"/>
                <a:gd name="f349" fmla="*/ f256 f173 1"/>
                <a:gd name="f350" fmla="*/ f257 f173 1"/>
                <a:gd name="f351" fmla="*/ f258 f172 1"/>
                <a:gd name="f352" fmla="*/ f259 f173 1"/>
                <a:gd name="f353" fmla="*/ f260 f172 1"/>
                <a:gd name="f354" fmla="*/ f261 f173 1"/>
                <a:gd name="f355" fmla="*/ f262 f172 1"/>
                <a:gd name="f356" fmla="*/ f263 f17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68">
                  <a:pos x="f273" y="f274"/>
                </a:cxn>
                <a:cxn ang="f268">
                  <a:pos x="f275" y="f276"/>
                </a:cxn>
                <a:cxn ang="f268">
                  <a:pos x="f277" y="f278"/>
                </a:cxn>
                <a:cxn ang="f268">
                  <a:pos x="f279" y="f280"/>
                </a:cxn>
                <a:cxn ang="f268">
                  <a:pos x="f281" y="f282"/>
                </a:cxn>
                <a:cxn ang="f268">
                  <a:pos x="f283" y="f284"/>
                </a:cxn>
                <a:cxn ang="f268">
                  <a:pos x="f285" y="f286"/>
                </a:cxn>
                <a:cxn ang="f268">
                  <a:pos x="f285" y="f287"/>
                </a:cxn>
                <a:cxn ang="f268">
                  <a:pos x="f288" y="f289"/>
                </a:cxn>
                <a:cxn ang="f268">
                  <a:pos x="f290" y="f291"/>
                </a:cxn>
                <a:cxn ang="f268">
                  <a:pos x="f292" y="f293"/>
                </a:cxn>
                <a:cxn ang="f268">
                  <a:pos x="f294" y="f295"/>
                </a:cxn>
                <a:cxn ang="f268">
                  <a:pos x="f296" y="f297"/>
                </a:cxn>
                <a:cxn ang="f268">
                  <a:pos x="f298" y="f299"/>
                </a:cxn>
                <a:cxn ang="f268">
                  <a:pos x="f300" y="f301"/>
                </a:cxn>
                <a:cxn ang="f268">
                  <a:pos x="f302" y="f303"/>
                </a:cxn>
                <a:cxn ang="f268">
                  <a:pos x="f304" y="f305"/>
                </a:cxn>
                <a:cxn ang="f268">
                  <a:pos x="f285" y="f306"/>
                </a:cxn>
                <a:cxn ang="f268">
                  <a:pos x="f307" y="f308"/>
                </a:cxn>
                <a:cxn ang="f268">
                  <a:pos x="f309" y="f310"/>
                </a:cxn>
                <a:cxn ang="f268">
                  <a:pos x="f311" y="f312"/>
                </a:cxn>
                <a:cxn ang="f268">
                  <a:pos x="f313" y="f310"/>
                </a:cxn>
                <a:cxn ang="f268">
                  <a:pos x="f314" y="f310"/>
                </a:cxn>
                <a:cxn ang="f268">
                  <a:pos x="f315" y="f316"/>
                </a:cxn>
                <a:cxn ang="f268">
                  <a:pos x="f317" y="f318"/>
                </a:cxn>
                <a:cxn ang="f268">
                  <a:pos x="f319" y="f320"/>
                </a:cxn>
                <a:cxn ang="f268">
                  <a:pos x="f321" y="f322"/>
                </a:cxn>
                <a:cxn ang="f268">
                  <a:pos x="f323" y="f324"/>
                </a:cxn>
                <a:cxn ang="f268">
                  <a:pos x="f325" y="f326"/>
                </a:cxn>
                <a:cxn ang="f268">
                  <a:pos x="f327" y="f328"/>
                </a:cxn>
                <a:cxn ang="f268">
                  <a:pos x="f329" y="f330"/>
                </a:cxn>
                <a:cxn ang="f268">
                  <a:pos x="f331" y="f295"/>
                </a:cxn>
                <a:cxn ang="f268">
                  <a:pos x="f323" y="f332"/>
                </a:cxn>
                <a:cxn ang="f268">
                  <a:pos x="f333" y="f334"/>
                </a:cxn>
                <a:cxn ang="f268">
                  <a:pos x="f335" y="f289"/>
                </a:cxn>
                <a:cxn ang="f268">
                  <a:pos x="f336" y="f337"/>
                </a:cxn>
                <a:cxn ang="f268">
                  <a:pos x="f338" y="f339"/>
                </a:cxn>
                <a:cxn ang="f268">
                  <a:pos x="f340" y="f341"/>
                </a:cxn>
                <a:cxn ang="f268">
                  <a:pos x="f311" y="f342"/>
                </a:cxn>
                <a:cxn ang="f268">
                  <a:pos x="f343" y="f344"/>
                </a:cxn>
                <a:cxn ang="f268">
                  <a:pos x="f345" y="f346"/>
                </a:cxn>
                <a:cxn ang="f268">
                  <a:pos x="f347" y="f348"/>
                </a:cxn>
                <a:cxn ang="f268">
                  <a:pos x="f347" y="f349"/>
                </a:cxn>
                <a:cxn ang="f268">
                  <a:pos x="f343" y="f350"/>
                </a:cxn>
                <a:cxn ang="f268">
                  <a:pos x="f351" y="f352"/>
                </a:cxn>
                <a:cxn ang="f268">
                  <a:pos x="f353" y="f354"/>
                </a:cxn>
                <a:cxn ang="f268">
                  <a:pos x="f355" y="f356"/>
                </a:cxn>
              </a:cxnLst>
              <a:rect l="f269" t="f272" r="f270" b="f271"/>
              <a:pathLst>
                <a:path w="370" h="418">
                  <a:moveTo>
                    <a:pt x="f8" y="f9"/>
                  </a:moveTo>
                  <a:lnTo>
                    <a:pt x="f10" y="f5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5" y="f17"/>
                  </a:lnTo>
                  <a:lnTo>
                    <a:pt x="f18" y="f19"/>
                  </a:lnTo>
                  <a:lnTo>
                    <a:pt x="f13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11" y="f25"/>
                  </a:lnTo>
                  <a:lnTo>
                    <a:pt x="f10" y="f26"/>
                  </a:lnTo>
                  <a:lnTo>
                    <a:pt x="f27" y="f28"/>
                  </a:lnTo>
                  <a:lnTo>
                    <a:pt x="f10" y="f29"/>
                  </a:lnTo>
                  <a:lnTo>
                    <a:pt x="f30" y="f31"/>
                  </a:lnTo>
                  <a:lnTo>
                    <a:pt x="f32" y="f33"/>
                  </a:lnTo>
                  <a:lnTo>
                    <a:pt x="f34" y="f35"/>
                  </a:lnTo>
                  <a:lnTo>
                    <a:pt x="f36" y="f37"/>
                  </a:lnTo>
                  <a:lnTo>
                    <a:pt x="f38" y="f39"/>
                  </a:lnTo>
                  <a:lnTo>
                    <a:pt x="f40" y="f41"/>
                  </a:lnTo>
                  <a:lnTo>
                    <a:pt x="f42" y="f43"/>
                  </a:lnTo>
                  <a:lnTo>
                    <a:pt x="f44" y="f45"/>
                  </a:lnTo>
                  <a:lnTo>
                    <a:pt x="f38" y="f46"/>
                  </a:lnTo>
                  <a:lnTo>
                    <a:pt x="f42" y="f47"/>
                  </a:lnTo>
                  <a:lnTo>
                    <a:pt x="f48" y="f49"/>
                  </a:lnTo>
                  <a:lnTo>
                    <a:pt x="f34" y="f50"/>
                  </a:lnTo>
                  <a:lnTo>
                    <a:pt x="f8" y="f51"/>
                  </a:lnTo>
                  <a:lnTo>
                    <a:pt x="f32" y="f52"/>
                  </a:lnTo>
                  <a:lnTo>
                    <a:pt x="f8" y="f53"/>
                  </a:lnTo>
                  <a:lnTo>
                    <a:pt x="f54" y="f55"/>
                  </a:lnTo>
                  <a:lnTo>
                    <a:pt x="f56" y="f57"/>
                  </a:lnTo>
                  <a:lnTo>
                    <a:pt x="f58" y="f59"/>
                  </a:lnTo>
                  <a:lnTo>
                    <a:pt x="f60" y="f57"/>
                  </a:lnTo>
                  <a:lnTo>
                    <a:pt x="f13" y="f61"/>
                  </a:lnTo>
                  <a:lnTo>
                    <a:pt x="f62" y="f55"/>
                  </a:lnTo>
                  <a:lnTo>
                    <a:pt x="f63" y="f61"/>
                  </a:lnTo>
                  <a:lnTo>
                    <a:pt x="f64" y="f59"/>
                  </a:lnTo>
                  <a:lnTo>
                    <a:pt x="f65" y="f66"/>
                  </a:lnTo>
                  <a:lnTo>
                    <a:pt x="f6" y="f67"/>
                  </a:lnTo>
                  <a:lnTo>
                    <a:pt x="f68" y="f69"/>
                  </a:lnTo>
                  <a:lnTo>
                    <a:pt x="f62" y="f70"/>
                  </a:lnTo>
                  <a:lnTo>
                    <a:pt x="f71" y="f72"/>
                  </a:lnTo>
                  <a:lnTo>
                    <a:pt x="f32" y="f73"/>
                  </a:lnTo>
                  <a:lnTo>
                    <a:pt x="f44" y="f74"/>
                  </a:lnTo>
                  <a:lnTo>
                    <a:pt x="f70" y="f75"/>
                  </a:lnTo>
                  <a:lnTo>
                    <a:pt x="f76" y="f77"/>
                  </a:lnTo>
                  <a:lnTo>
                    <a:pt x="f76" y="f78"/>
                  </a:lnTo>
                  <a:lnTo>
                    <a:pt x="f76" y="f60"/>
                  </a:lnTo>
                  <a:lnTo>
                    <a:pt x="f79" y="f80"/>
                  </a:lnTo>
                  <a:lnTo>
                    <a:pt x="f81" y="f82"/>
                  </a:lnTo>
                  <a:lnTo>
                    <a:pt x="f83" y="f6"/>
                  </a:lnTo>
                  <a:lnTo>
                    <a:pt x="f42" y="f84"/>
                  </a:lnTo>
                  <a:lnTo>
                    <a:pt x="f38" y="f85"/>
                  </a:lnTo>
                  <a:lnTo>
                    <a:pt x="f42" y="f86"/>
                  </a:lnTo>
                  <a:lnTo>
                    <a:pt x="f70" y="f87"/>
                  </a:lnTo>
                  <a:lnTo>
                    <a:pt x="f79" y="f7"/>
                  </a:lnTo>
                  <a:lnTo>
                    <a:pt x="f79" y="f88"/>
                  </a:lnTo>
                  <a:lnTo>
                    <a:pt x="f89" y="f90"/>
                  </a:lnTo>
                  <a:lnTo>
                    <a:pt x="f91" y="f92"/>
                  </a:lnTo>
                  <a:lnTo>
                    <a:pt x="f57" y="f84"/>
                  </a:lnTo>
                  <a:lnTo>
                    <a:pt x="f93" y="f94"/>
                  </a:lnTo>
                  <a:lnTo>
                    <a:pt x="f95" y="f96"/>
                  </a:lnTo>
                  <a:lnTo>
                    <a:pt x="f97" y="f98"/>
                  </a:lnTo>
                  <a:lnTo>
                    <a:pt x="f99" y="f92"/>
                  </a:lnTo>
                  <a:lnTo>
                    <a:pt x="f100" y="f101"/>
                  </a:lnTo>
                  <a:lnTo>
                    <a:pt x="f102" y="f84"/>
                  </a:lnTo>
                  <a:lnTo>
                    <a:pt x="f103" y="f84"/>
                  </a:lnTo>
                  <a:lnTo>
                    <a:pt x="f104" y="f105"/>
                  </a:lnTo>
                  <a:lnTo>
                    <a:pt x="f106" y="f84"/>
                  </a:lnTo>
                  <a:lnTo>
                    <a:pt x="f107" y="f98"/>
                  </a:lnTo>
                  <a:lnTo>
                    <a:pt x="f108" y="f94"/>
                  </a:lnTo>
                  <a:lnTo>
                    <a:pt x="f109" y="f96"/>
                  </a:lnTo>
                  <a:lnTo>
                    <a:pt x="f35" y="f110"/>
                  </a:lnTo>
                  <a:lnTo>
                    <a:pt x="f111" y="f112"/>
                  </a:lnTo>
                  <a:lnTo>
                    <a:pt x="f113" y="f114"/>
                  </a:lnTo>
                  <a:lnTo>
                    <a:pt x="f115" y="f80"/>
                  </a:lnTo>
                  <a:lnTo>
                    <a:pt x="f116" y="f15"/>
                  </a:lnTo>
                  <a:lnTo>
                    <a:pt x="f117" y="f118"/>
                  </a:lnTo>
                  <a:lnTo>
                    <a:pt x="f119" y="f120"/>
                  </a:lnTo>
                  <a:lnTo>
                    <a:pt x="f121" y="f122"/>
                  </a:lnTo>
                  <a:lnTo>
                    <a:pt x="f123" y="f124"/>
                  </a:lnTo>
                  <a:lnTo>
                    <a:pt x="f123" y="f125"/>
                  </a:lnTo>
                  <a:lnTo>
                    <a:pt x="f19" y="f126"/>
                  </a:lnTo>
                  <a:lnTo>
                    <a:pt x="f19" y="f127"/>
                  </a:lnTo>
                  <a:lnTo>
                    <a:pt x="f17" y="f32"/>
                  </a:lnTo>
                  <a:lnTo>
                    <a:pt x="f128" y="f126"/>
                  </a:lnTo>
                  <a:lnTo>
                    <a:pt x="f129" y="f77"/>
                  </a:lnTo>
                  <a:lnTo>
                    <a:pt x="f9" y="f130"/>
                  </a:lnTo>
                  <a:lnTo>
                    <a:pt x="f5" y="f131"/>
                  </a:lnTo>
                  <a:lnTo>
                    <a:pt x="f12" y="f132"/>
                  </a:lnTo>
                  <a:lnTo>
                    <a:pt x="f9" y="f70"/>
                  </a:lnTo>
                  <a:lnTo>
                    <a:pt x="f133" y="f67"/>
                  </a:lnTo>
                  <a:lnTo>
                    <a:pt x="f134" y="f135"/>
                  </a:lnTo>
                  <a:lnTo>
                    <a:pt x="f123" y="f136"/>
                  </a:lnTo>
                  <a:lnTo>
                    <a:pt x="f19" y="f137"/>
                  </a:lnTo>
                  <a:lnTo>
                    <a:pt x="f138" y="f61"/>
                  </a:lnTo>
                  <a:lnTo>
                    <a:pt x="f138" y="f93"/>
                  </a:lnTo>
                  <a:lnTo>
                    <a:pt x="f138" y="f139"/>
                  </a:lnTo>
                  <a:lnTo>
                    <a:pt x="f19" y="f140"/>
                  </a:lnTo>
                  <a:lnTo>
                    <a:pt x="f20" y="f141"/>
                  </a:lnTo>
                  <a:lnTo>
                    <a:pt x="f117" y="f140"/>
                  </a:lnTo>
                  <a:lnTo>
                    <a:pt x="f25" y="f142"/>
                  </a:lnTo>
                  <a:lnTo>
                    <a:pt x="f143" y="f142"/>
                  </a:lnTo>
                  <a:lnTo>
                    <a:pt x="f144" y="f52"/>
                  </a:lnTo>
                  <a:lnTo>
                    <a:pt x="f145" y="f51"/>
                  </a:lnTo>
                  <a:lnTo>
                    <a:pt x="f108" y="f146"/>
                  </a:lnTo>
                  <a:lnTo>
                    <a:pt x="f107" y="f147"/>
                  </a:lnTo>
                  <a:lnTo>
                    <a:pt x="f148" y="f46"/>
                  </a:lnTo>
                  <a:lnTo>
                    <a:pt x="f106" y="f149"/>
                  </a:lnTo>
                  <a:lnTo>
                    <a:pt x="f150" y="f151"/>
                  </a:lnTo>
                  <a:lnTo>
                    <a:pt x="f152" y="f153"/>
                  </a:lnTo>
                  <a:lnTo>
                    <a:pt x="f154" y="f45"/>
                  </a:lnTo>
                  <a:lnTo>
                    <a:pt x="f100" y="f45"/>
                  </a:lnTo>
                  <a:lnTo>
                    <a:pt x="f147" y="f45"/>
                  </a:lnTo>
                  <a:lnTo>
                    <a:pt x="f97" y="f155"/>
                  </a:lnTo>
                  <a:lnTo>
                    <a:pt x="f99" y="f148"/>
                  </a:lnTo>
                  <a:lnTo>
                    <a:pt x="f97" y="f39"/>
                  </a:lnTo>
                  <a:lnTo>
                    <a:pt x="f156" y="f39"/>
                  </a:lnTo>
                  <a:lnTo>
                    <a:pt x="f157" y="f39"/>
                  </a:lnTo>
                  <a:lnTo>
                    <a:pt x="f158" y="f159"/>
                  </a:lnTo>
                  <a:lnTo>
                    <a:pt x="f93" y="f35"/>
                  </a:lnTo>
                  <a:lnTo>
                    <a:pt x="f160" y="f161"/>
                  </a:lnTo>
                  <a:lnTo>
                    <a:pt x="f95" y="f162"/>
                  </a:lnTo>
                  <a:lnTo>
                    <a:pt x="f163" y="f113"/>
                  </a:lnTo>
                  <a:lnTo>
                    <a:pt x="f156" y="f31"/>
                  </a:lnTo>
                  <a:lnTo>
                    <a:pt x="f156" y="f164"/>
                  </a:lnTo>
                  <a:lnTo>
                    <a:pt x="f165" y="f28"/>
                  </a:lnTo>
                  <a:lnTo>
                    <a:pt x="f165" y="f166"/>
                  </a:lnTo>
                  <a:lnTo>
                    <a:pt x="f156" y="f116"/>
                  </a:lnTo>
                  <a:lnTo>
                    <a:pt x="f157" y="f116"/>
                  </a:lnTo>
                  <a:lnTo>
                    <a:pt x="f160" y="f25"/>
                  </a:lnTo>
                  <a:lnTo>
                    <a:pt x="f158" y="f25"/>
                  </a:lnTo>
                  <a:lnTo>
                    <a:pt x="f167" y="f168"/>
                  </a:lnTo>
                  <a:lnTo>
                    <a:pt x="f169" y="f24"/>
                  </a:lnTo>
                  <a:lnTo>
                    <a:pt x="f89" y="f119"/>
                  </a:lnTo>
                  <a:lnTo>
                    <a:pt x="f79" y="f121"/>
                  </a:lnTo>
                  <a:lnTo>
                    <a:pt x="f83" y="f19"/>
                  </a:lnTo>
                  <a:lnTo>
                    <a:pt x="f170" y="f134"/>
                  </a:lnTo>
                  <a:lnTo>
                    <a:pt x="f132" y="f128"/>
                  </a:lnTo>
                  <a:lnTo>
                    <a:pt x="f38" y="f14"/>
                  </a:lnTo>
                  <a:lnTo>
                    <a:pt x="f48" y="f14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D9D9D9"/>
            </a:solidFill>
            <a:ln w="6345" cap="flat">
              <a:solidFill>
                <a:srgbClr val="A6A6A6"/>
              </a:solidFill>
              <a:prstDash val="solid"/>
              <a:round/>
            </a:ln>
          </p:spPr>
          <p:txBody>
            <a:bodyPr vert="horz" wrap="square" lIns="68580" tIns="34290" rIns="68580" bIns="3429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290" rtl="0" fontAlgn="auto" hangingPunct="1">
                <a:lnSpc>
                  <a:spcPct val="100000"/>
                </a:lnSpc>
                <a:spcBef>
                  <a:spcPts val="50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000" b="0" i="0" u="none" strike="noStrike" kern="0" cap="none" spc="0" baseline="0">
                <a:solidFill>
                  <a:srgbClr val="133B9C"/>
                </a:solidFill>
                <a:highlight>
                  <a:srgbClr val="008556"/>
                </a:highlight>
                <a:uFillTx/>
                <a:latin typeface="Arial"/>
              </a:endParaRPr>
            </a:p>
          </p:txBody>
        </p:sp>
        <p:sp>
          <p:nvSpPr>
            <p:cNvPr id="44" name="Freeform 169">
              <a:extLst>
                <a:ext uri="{FF2B5EF4-FFF2-40B4-BE49-F238E27FC236}">
                  <a16:creationId xmlns:a16="http://schemas.microsoft.com/office/drawing/2014/main" id="{55F48E70-FFBA-57DC-ED96-93EB3D4B35DB}"/>
                </a:ext>
              </a:extLst>
            </p:cNvPr>
            <p:cNvSpPr/>
            <p:nvPr/>
          </p:nvSpPr>
          <p:spPr>
            <a:xfrm>
              <a:off x="4593387" y="2401040"/>
              <a:ext cx="55193" cy="26810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59"/>
                <a:gd name="f7" fmla="val 32"/>
                <a:gd name="f8" fmla="val 25"/>
                <a:gd name="f9" fmla="val 18"/>
                <a:gd name="f10" fmla="val 7"/>
                <a:gd name="f11" fmla="val 10"/>
                <a:gd name="f12" fmla="val 3"/>
                <a:gd name="f13" fmla="val 16"/>
                <a:gd name="f14" fmla="val 5"/>
                <a:gd name="f15" fmla="val 20"/>
                <a:gd name="f16" fmla="val 23"/>
                <a:gd name="f17" fmla="val 40"/>
                <a:gd name="f18" fmla="val 30"/>
                <a:gd name="f19" fmla="val 50"/>
                <a:gd name="f20" fmla="val 55"/>
                <a:gd name="f21" fmla="val 48"/>
                <a:gd name="f22" fmla="val 38"/>
                <a:gd name="f23" fmla="+- 0 0 -90"/>
                <a:gd name="f24" fmla="*/ f3 1 59"/>
                <a:gd name="f25" fmla="*/ f4 1 32"/>
                <a:gd name="f26" fmla="+- f7 0 f5"/>
                <a:gd name="f27" fmla="+- f6 0 f5"/>
                <a:gd name="f28" fmla="*/ f23 f0 1"/>
                <a:gd name="f29" fmla="*/ f27 1 59"/>
                <a:gd name="f30" fmla="*/ f26 1 32"/>
                <a:gd name="f31" fmla="*/ f28 1 f2"/>
                <a:gd name="f32" fmla="*/ 25 1 f29"/>
                <a:gd name="f33" fmla="*/ 0 1 f30"/>
                <a:gd name="f34" fmla="*/ 18 1 f29"/>
                <a:gd name="f35" fmla="*/ 7 1 f30"/>
                <a:gd name="f36" fmla="*/ 10 1 f29"/>
                <a:gd name="f37" fmla="*/ 0 1 f29"/>
                <a:gd name="f38" fmla="*/ 3 1 f29"/>
                <a:gd name="f39" fmla="*/ 16 1 f30"/>
                <a:gd name="f40" fmla="*/ 5 1 f29"/>
                <a:gd name="f41" fmla="*/ 20 1 f30"/>
                <a:gd name="f42" fmla="*/ 23 1 f29"/>
                <a:gd name="f43" fmla="*/ 25 1 f30"/>
                <a:gd name="f44" fmla="*/ 40 1 f29"/>
                <a:gd name="f45" fmla="*/ 30 1 f30"/>
                <a:gd name="f46" fmla="*/ 50 1 f29"/>
                <a:gd name="f47" fmla="*/ 32 1 f30"/>
                <a:gd name="f48" fmla="*/ 55 1 f29"/>
                <a:gd name="f49" fmla="*/ 59 1 f29"/>
                <a:gd name="f50" fmla="*/ 10 1 f30"/>
                <a:gd name="f51" fmla="*/ 48 1 f29"/>
                <a:gd name="f52" fmla="*/ 38 1 f29"/>
                <a:gd name="f53" fmla="*/ 5 1 f30"/>
                <a:gd name="f54" fmla="*/ f6 1 f29"/>
                <a:gd name="f55" fmla="*/ f7 1 f30"/>
                <a:gd name="f56" fmla="+- f31 0 f1"/>
                <a:gd name="f57" fmla="*/ f37 f24 1"/>
                <a:gd name="f58" fmla="*/ f54 f24 1"/>
                <a:gd name="f59" fmla="*/ f55 f25 1"/>
                <a:gd name="f60" fmla="*/ f33 f25 1"/>
                <a:gd name="f61" fmla="*/ f32 f24 1"/>
                <a:gd name="f62" fmla="*/ f34 f24 1"/>
                <a:gd name="f63" fmla="*/ f35 f25 1"/>
                <a:gd name="f64" fmla="*/ f36 f24 1"/>
                <a:gd name="f65" fmla="*/ f38 f24 1"/>
                <a:gd name="f66" fmla="*/ f39 f25 1"/>
                <a:gd name="f67" fmla="*/ f40 f24 1"/>
                <a:gd name="f68" fmla="*/ f41 f25 1"/>
                <a:gd name="f69" fmla="*/ f42 f24 1"/>
                <a:gd name="f70" fmla="*/ f43 f25 1"/>
                <a:gd name="f71" fmla="*/ f44 f24 1"/>
                <a:gd name="f72" fmla="*/ f45 f25 1"/>
                <a:gd name="f73" fmla="*/ f46 f24 1"/>
                <a:gd name="f74" fmla="*/ f47 f25 1"/>
                <a:gd name="f75" fmla="*/ f48 f24 1"/>
                <a:gd name="f76" fmla="*/ f49 f24 1"/>
                <a:gd name="f77" fmla="*/ f50 f25 1"/>
                <a:gd name="f78" fmla="*/ f51 f24 1"/>
                <a:gd name="f79" fmla="*/ f52 f24 1"/>
                <a:gd name="f80" fmla="*/ f5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56">
                  <a:pos x="f61" y="f60"/>
                </a:cxn>
                <a:cxn ang="f56">
                  <a:pos x="f62" y="f63"/>
                </a:cxn>
                <a:cxn ang="f56">
                  <a:pos x="f64" y="f63"/>
                </a:cxn>
                <a:cxn ang="f56">
                  <a:pos x="f57" y="f63"/>
                </a:cxn>
                <a:cxn ang="f56">
                  <a:pos x="f65" y="f66"/>
                </a:cxn>
                <a:cxn ang="f56">
                  <a:pos x="f67" y="f68"/>
                </a:cxn>
                <a:cxn ang="f56">
                  <a:pos x="f69" y="f70"/>
                </a:cxn>
                <a:cxn ang="f56">
                  <a:pos x="f71" y="f72"/>
                </a:cxn>
                <a:cxn ang="f56">
                  <a:pos x="f73" y="f74"/>
                </a:cxn>
                <a:cxn ang="f56">
                  <a:pos x="f75" y="f70"/>
                </a:cxn>
                <a:cxn ang="f56">
                  <a:pos x="f76" y="f68"/>
                </a:cxn>
                <a:cxn ang="f56">
                  <a:pos x="f76" y="f77"/>
                </a:cxn>
                <a:cxn ang="f56">
                  <a:pos x="f75" y="f60"/>
                </a:cxn>
                <a:cxn ang="f56">
                  <a:pos x="f78" y="f60"/>
                </a:cxn>
                <a:cxn ang="f56">
                  <a:pos x="f79" y="f80"/>
                </a:cxn>
                <a:cxn ang="f56">
                  <a:pos x="f61" y="f60"/>
                </a:cxn>
              </a:cxnLst>
              <a:rect l="f57" t="f60" r="f58" b="f59"/>
              <a:pathLst>
                <a:path w="59" h="32">
                  <a:moveTo>
                    <a:pt x="f8" y="f5"/>
                  </a:moveTo>
                  <a:lnTo>
                    <a:pt x="f9" y="f10"/>
                  </a:lnTo>
                  <a:lnTo>
                    <a:pt x="f11" y="f10"/>
                  </a:lnTo>
                  <a:lnTo>
                    <a:pt x="f5" y="f10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8"/>
                  </a:lnTo>
                  <a:lnTo>
                    <a:pt x="f17" y="f18"/>
                  </a:lnTo>
                  <a:lnTo>
                    <a:pt x="f19" y="f7"/>
                  </a:lnTo>
                  <a:lnTo>
                    <a:pt x="f20" y="f8"/>
                  </a:lnTo>
                  <a:lnTo>
                    <a:pt x="f6" y="f15"/>
                  </a:lnTo>
                  <a:lnTo>
                    <a:pt x="f6" y="f11"/>
                  </a:lnTo>
                  <a:lnTo>
                    <a:pt x="f20" y="f5"/>
                  </a:lnTo>
                  <a:lnTo>
                    <a:pt x="f21" y="f5"/>
                  </a:lnTo>
                  <a:lnTo>
                    <a:pt x="f22" y="f14"/>
                  </a:lnTo>
                  <a:lnTo>
                    <a:pt x="f8" y="f5"/>
                  </a:lnTo>
                  <a:close/>
                </a:path>
              </a:pathLst>
            </a:custGeom>
            <a:solidFill>
              <a:srgbClr val="D9D9D9"/>
            </a:solidFill>
            <a:ln w="6345" cap="flat">
              <a:solidFill>
                <a:srgbClr val="A6A6A6"/>
              </a:solidFill>
              <a:prstDash val="solid"/>
              <a:round/>
            </a:ln>
          </p:spPr>
          <p:txBody>
            <a:bodyPr vert="horz" wrap="square" lIns="68580" tIns="34290" rIns="68580" bIns="3429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290" rtl="0" fontAlgn="auto" hangingPunct="1">
                <a:lnSpc>
                  <a:spcPct val="100000"/>
                </a:lnSpc>
                <a:spcBef>
                  <a:spcPts val="50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000" b="0" i="0" u="none" strike="noStrike" kern="0" cap="none" spc="0" baseline="0">
                <a:solidFill>
                  <a:srgbClr val="133B9C"/>
                </a:solidFill>
                <a:highlight>
                  <a:srgbClr val="008556"/>
                </a:highlight>
                <a:uFillTx/>
                <a:latin typeface="Arial"/>
              </a:endParaRPr>
            </a:p>
          </p:txBody>
        </p:sp>
        <p:sp>
          <p:nvSpPr>
            <p:cNvPr id="45" name="Freeform 170">
              <a:extLst>
                <a:ext uri="{FF2B5EF4-FFF2-40B4-BE49-F238E27FC236}">
                  <a16:creationId xmlns:a16="http://schemas.microsoft.com/office/drawing/2014/main" id="{66C0357E-DBF2-1F6F-07E1-F51085CE62F9}"/>
                </a:ext>
              </a:extLst>
            </p:cNvPr>
            <p:cNvSpPr/>
            <p:nvPr/>
          </p:nvSpPr>
          <p:spPr>
            <a:xfrm>
              <a:off x="4596195" y="2122916"/>
              <a:ext cx="337678" cy="37781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361"/>
                <a:gd name="f7" fmla="val 451"/>
                <a:gd name="f8" fmla="val 22"/>
                <a:gd name="f9" fmla="val 78"/>
                <a:gd name="f10" fmla="val 19"/>
                <a:gd name="f11" fmla="val 89"/>
                <a:gd name="f12" fmla="val 32"/>
                <a:gd name="f13" fmla="val 98"/>
                <a:gd name="f14" fmla="val 42"/>
                <a:gd name="f15" fmla="val 123"/>
                <a:gd name="f16" fmla="val 39"/>
                <a:gd name="f17" fmla="val 143"/>
                <a:gd name="f18" fmla="val 34"/>
                <a:gd name="f19" fmla="val 158"/>
                <a:gd name="f20" fmla="val 165"/>
                <a:gd name="f21" fmla="val 47"/>
                <a:gd name="f22" fmla="val 196"/>
                <a:gd name="f23" fmla="val 59"/>
                <a:gd name="f24" fmla="val 225"/>
                <a:gd name="f25" fmla="val 68"/>
                <a:gd name="f26" fmla="val 250"/>
                <a:gd name="f27" fmla="val 74"/>
                <a:gd name="f28" fmla="val 265"/>
                <a:gd name="f29" fmla="val 282"/>
                <a:gd name="f30" fmla="val 61"/>
                <a:gd name="f31" fmla="val 297"/>
                <a:gd name="f32" fmla="val 63"/>
                <a:gd name="f33" fmla="val 310"/>
                <a:gd name="f34" fmla="val 76"/>
                <a:gd name="f35" fmla="val 317"/>
                <a:gd name="f36" fmla="val 86"/>
                <a:gd name="f37" fmla="val 328"/>
                <a:gd name="f38" fmla="val 92"/>
                <a:gd name="f39" fmla="val 335"/>
                <a:gd name="f40" fmla="val 348"/>
                <a:gd name="f41" fmla="val 106"/>
                <a:gd name="f42" fmla="val 357"/>
                <a:gd name="f43" fmla="val 119"/>
                <a:gd name="f44" fmla="val 369"/>
                <a:gd name="f45" fmla="val 126"/>
                <a:gd name="f46" fmla="val 379"/>
                <a:gd name="f47" fmla="val 131"/>
                <a:gd name="f48" fmla="val 391"/>
                <a:gd name="f49" fmla="val 139"/>
                <a:gd name="f50" fmla="val 399"/>
                <a:gd name="f51" fmla="val 148"/>
                <a:gd name="f52" fmla="val 417"/>
                <a:gd name="f53" fmla="val 155"/>
                <a:gd name="f54" fmla="val 431"/>
                <a:gd name="f55" fmla="val 161"/>
                <a:gd name="f56" fmla="val 442"/>
                <a:gd name="f57" fmla="val 171"/>
                <a:gd name="f58" fmla="val 186"/>
                <a:gd name="f59" fmla="val 444"/>
                <a:gd name="f60" fmla="val 198"/>
                <a:gd name="f61" fmla="val 446"/>
                <a:gd name="f62" fmla="val 211"/>
                <a:gd name="f63" fmla="val 213"/>
                <a:gd name="f64" fmla="val 224"/>
                <a:gd name="f65" fmla="val 437"/>
                <a:gd name="f66" fmla="val 234"/>
                <a:gd name="f67" fmla="val 422"/>
                <a:gd name="f68" fmla="val 239"/>
                <a:gd name="f69" fmla="val 410"/>
                <a:gd name="f70" fmla="val 240"/>
                <a:gd name="f71" fmla="val 395"/>
                <a:gd name="f72" fmla="val 254"/>
                <a:gd name="f73" fmla="val 386"/>
                <a:gd name="f74" fmla="val 376"/>
                <a:gd name="f75" fmla="val 260"/>
                <a:gd name="f76" fmla="val 362"/>
                <a:gd name="f77" fmla="val 267"/>
                <a:gd name="f78" fmla="val 355"/>
                <a:gd name="f79" fmla="val 278"/>
                <a:gd name="f80" fmla="val 287"/>
                <a:gd name="f81" fmla="val 285"/>
                <a:gd name="f82" fmla="val 350"/>
                <a:gd name="f83" fmla="val 319"/>
                <a:gd name="f84" fmla="val 307"/>
                <a:gd name="f85" fmla="val 305"/>
                <a:gd name="f86" fmla="val 302"/>
                <a:gd name="f87" fmla="val 311"/>
                <a:gd name="f88" fmla="val 276"/>
                <a:gd name="f89" fmla="val 268"/>
                <a:gd name="f90" fmla="val 320"/>
                <a:gd name="f91" fmla="val 261"/>
                <a:gd name="f92" fmla="val 332"/>
                <a:gd name="f93" fmla="val 257"/>
                <a:gd name="f94" fmla="val 340"/>
                <a:gd name="f95" fmla="val 252"/>
                <a:gd name="f96" fmla="val 345"/>
                <a:gd name="f97" fmla="val 248"/>
                <a:gd name="f98" fmla="val 236"/>
                <a:gd name="f99" fmla="val 325"/>
                <a:gd name="f100" fmla="val 201"/>
                <a:gd name="f101" fmla="val 352"/>
                <a:gd name="f102" fmla="val 203"/>
                <a:gd name="f103" fmla="val 346"/>
                <a:gd name="f104" fmla="val 188"/>
                <a:gd name="f105" fmla="val 181"/>
                <a:gd name="f106" fmla="val 172"/>
                <a:gd name="f107" fmla="val 168"/>
                <a:gd name="f108" fmla="val 163"/>
                <a:gd name="f109" fmla="val 156"/>
                <a:gd name="f110" fmla="val 151"/>
                <a:gd name="f111" fmla="val 337"/>
                <a:gd name="f112" fmla="val 327"/>
                <a:gd name="f113" fmla="val 141"/>
                <a:gd name="f114" fmla="val 134"/>
                <a:gd name="f115" fmla="val 303"/>
                <a:gd name="f116" fmla="val 118"/>
                <a:gd name="f117" fmla="val 292"/>
                <a:gd name="f118" fmla="val 116"/>
                <a:gd name="f119" fmla="val 280"/>
                <a:gd name="f120" fmla="val 114"/>
                <a:gd name="f121" fmla="val 275"/>
                <a:gd name="f122" fmla="val 109"/>
                <a:gd name="f123" fmla="val 96"/>
                <a:gd name="f124" fmla="val 258"/>
                <a:gd name="f125" fmla="val 81"/>
                <a:gd name="f126" fmla="val 235"/>
                <a:gd name="f127" fmla="val 220"/>
                <a:gd name="f128" fmla="val 215"/>
                <a:gd name="f129" fmla="val 205"/>
                <a:gd name="f130" fmla="val 65"/>
                <a:gd name="f131" fmla="val 64"/>
                <a:gd name="f132" fmla="val 133"/>
                <a:gd name="f133" fmla="val 49"/>
                <a:gd name="f134" fmla="val 121"/>
                <a:gd name="f135" fmla="val 40"/>
                <a:gd name="f136" fmla="val 103"/>
                <a:gd name="f137" fmla="val 29"/>
                <a:gd name="f138" fmla="val 88"/>
                <a:gd name="f139" fmla="val 27"/>
                <a:gd name="f140" fmla="val 24"/>
                <a:gd name="f141" fmla="val 16"/>
                <a:gd name="f142" fmla="val 36"/>
                <a:gd name="f143" fmla="val 15"/>
                <a:gd name="f144" fmla="val 11"/>
                <a:gd name="f145" fmla="val 4"/>
                <a:gd name="f146" fmla="val 31"/>
                <a:gd name="f147" fmla="val 12"/>
                <a:gd name="f148" fmla="val 48"/>
                <a:gd name="f149" fmla="val 56"/>
                <a:gd name="f150" fmla="val 33"/>
                <a:gd name="f151" fmla="val 71"/>
                <a:gd name="f152" fmla="+- 0 0 -90"/>
                <a:gd name="f153" fmla="*/ f3 1 361"/>
                <a:gd name="f154" fmla="*/ f4 1 451"/>
                <a:gd name="f155" fmla="+- f7 0 f5"/>
                <a:gd name="f156" fmla="+- f6 0 f5"/>
                <a:gd name="f157" fmla="*/ f152 f0 1"/>
                <a:gd name="f158" fmla="*/ f156 1 361"/>
                <a:gd name="f159" fmla="*/ f155 1 451"/>
                <a:gd name="f160" fmla="*/ f157 1 f2"/>
                <a:gd name="f161" fmla="*/ 19 1 f158"/>
                <a:gd name="f162" fmla="*/ 89 1 f159"/>
                <a:gd name="f163" fmla="*/ 42 1 f158"/>
                <a:gd name="f164" fmla="*/ 123 1 f159"/>
                <a:gd name="f165" fmla="*/ 34 1 f158"/>
                <a:gd name="f166" fmla="*/ 158 1 f159"/>
                <a:gd name="f167" fmla="*/ 47 1 f158"/>
                <a:gd name="f168" fmla="*/ 196 1 f159"/>
                <a:gd name="f169" fmla="*/ 68 1 f158"/>
                <a:gd name="f170" fmla="*/ 250 1 f159"/>
                <a:gd name="f171" fmla="*/ 282 1 f159"/>
                <a:gd name="f172" fmla="*/ 63 1 f158"/>
                <a:gd name="f173" fmla="*/ 310 1 f159"/>
                <a:gd name="f174" fmla="*/ 86 1 f158"/>
                <a:gd name="f175" fmla="*/ 328 1 f159"/>
                <a:gd name="f176" fmla="*/ 92 1 f158"/>
                <a:gd name="f177" fmla="*/ 348 1 f159"/>
                <a:gd name="f178" fmla="*/ 119 1 f158"/>
                <a:gd name="f179" fmla="*/ 369 1 f159"/>
                <a:gd name="f180" fmla="*/ 131 1 f158"/>
                <a:gd name="f181" fmla="*/ 391 1 f159"/>
                <a:gd name="f182" fmla="*/ 148 1 f158"/>
                <a:gd name="f183" fmla="*/ 417 1 f159"/>
                <a:gd name="f184" fmla="*/ 161 1 f158"/>
                <a:gd name="f185" fmla="*/ 442 1 f159"/>
                <a:gd name="f186" fmla="*/ 186 1 f158"/>
                <a:gd name="f187" fmla="*/ 444 1 f159"/>
                <a:gd name="f188" fmla="*/ 211 1 f158"/>
                <a:gd name="f189" fmla="*/ 451 1 f159"/>
                <a:gd name="f190" fmla="*/ 224 1 f158"/>
                <a:gd name="f191" fmla="*/ 437 1 f159"/>
                <a:gd name="f192" fmla="*/ 239 1 f158"/>
                <a:gd name="f193" fmla="*/ 410 1 f159"/>
                <a:gd name="f194" fmla="*/ 250 1 f158"/>
                <a:gd name="f195" fmla="*/ 395 1 f159"/>
                <a:gd name="f196" fmla="*/ 265 1 f158"/>
                <a:gd name="f197" fmla="*/ 376 1 f159"/>
                <a:gd name="f198" fmla="*/ 267 1 f158"/>
                <a:gd name="f199" fmla="*/ 355 1 f159"/>
                <a:gd name="f200" fmla="*/ 287 1 f158"/>
                <a:gd name="f201" fmla="*/ 357 1 f159"/>
                <a:gd name="f202" fmla="*/ 297 1 f158"/>
                <a:gd name="f203" fmla="*/ 335 1 f159"/>
                <a:gd name="f204" fmla="*/ 307 1 f158"/>
                <a:gd name="f205" fmla="*/ 311 1 f158"/>
                <a:gd name="f206" fmla="*/ 297 1 f159"/>
                <a:gd name="f207" fmla="*/ 305 1 f158"/>
                <a:gd name="f208" fmla="*/ 276 1 f159"/>
                <a:gd name="f209" fmla="*/ 320 1 f158"/>
                <a:gd name="f210" fmla="*/ 261 1 f159"/>
                <a:gd name="f211" fmla="*/ 340 1 f158"/>
                <a:gd name="f212" fmla="*/ 252 1 f159"/>
                <a:gd name="f213" fmla="*/ 236 1 f159"/>
                <a:gd name="f214" fmla="*/ 332 1 f158"/>
                <a:gd name="f215" fmla="*/ 198 1 f159"/>
                <a:gd name="f216" fmla="*/ 352 1 f158"/>
                <a:gd name="f217" fmla="*/ 203 1 f159"/>
                <a:gd name="f218" fmla="*/ 345 1 f158"/>
                <a:gd name="f219" fmla="*/ 181 1 f159"/>
                <a:gd name="f220" fmla="*/ 357 1 f158"/>
                <a:gd name="f221" fmla="*/ 168 1 f159"/>
                <a:gd name="f222" fmla="*/ 156 1 f159"/>
                <a:gd name="f223" fmla="*/ 327 1 f158"/>
                <a:gd name="f224" fmla="*/ 148 1 f159"/>
                <a:gd name="f225" fmla="*/ 134 1 f159"/>
                <a:gd name="f226" fmla="*/ 292 1 f158"/>
                <a:gd name="f227" fmla="*/ 116 1 f159"/>
                <a:gd name="f228" fmla="*/ 275 1 f158"/>
                <a:gd name="f229" fmla="*/ 109 1 f159"/>
                <a:gd name="f230" fmla="*/ 258 1 f158"/>
                <a:gd name="f231" fmla="*/ 81 1 f159"/>
                <a:gd name="f232" fmla="*/ 225 1 f158"/>
                <a:gd name="f233" fmla="*/ 76 1 f159"/>
                <a:gd name="f234" fmla="*/ 215 1 f158"/>
                <a:gd name="f235" fmla="*/ 198 1 f158"/>
                <a:gd name="f236" fmla="*/ 78 1 f159"/>
                <a:gd name="f237" fmla="*/ 151 1 f158"/>
                <a:gd name="f238" fmla="*/ 64 1 f159"/>
                <a:gd name="f239" fmla="*/ 133 1 f158"/>
                <a:gd name="f240" fmla="*/ 49 1 f159"/>
                <a:gd name="f241" fmla="*/ 103 1 f158"/>
                <a:gd name="f242" fmla="*/ 29 1 f159"/>
                <a:gd name="f243" fmla="*/ 24 1 f159"/>
                <a:gd name="f244" fmla="*/ 36 1 f158"/>
                <a:gd name="f245" fmla="*/ 15 1 f159"/>
                <a:gd name="f246" fmla="*/ 27 1 f158"/>
                <a:gd name="f247" fmla="*/ 4 1 f159"/>
                <a:gd name="f248" fmla="*/ 4 1 f158"/>
                <a:gd name="f249" fmla="*/ 11 1 f159"/>
                <a:gd name="f250" fmla="*/ 12 1 f158"/>
                <a:gd name="f251" fmla="*/ 48 1 f159"/>
                <a:gd name="f252" fmla="*/ 33 1 f158"/>
                <a:gd name="f253" fmla="*/ 71 1 f159"/>
                <a:gd name="f254" fmla="*/ 0 1 f158"/>
                <a:gd name="f255" fmla="*/ f6 1 f158"/>
                <a:gd name="f256" fmla="*/ 0 1 f159"/>
                <a:gd name="f257" fmla="*/ f7 1 f159"/>
                <a:gd name="f258" fmla="+- f160 0 f1"/>
                <a:gd name="f259" fmla="*/ f254 f153 1"/>
                <a:gd name="f260" fmla="*/ f255 f153 1"/>
                <a:gd name="f261" fmla="*/ f257 f154 1"/>
                <a:gd name="f262" fmla="*/ f256 f154 1"/>
                <a:gd name="f263" fmla="*/ f161 f153 1"/>
                <a:gd name="f264" fmla="*/ f162 f154 1"/>
                <a:gd name="f265" fmla="*/ f163 f153 1"/>
                <a:gd name="f266" fmla="*/ f164 f154 1"/>
                <a:gd name="f267" fmla="*/ f165 f153 1"/>
                <a:gd name="f268" fmla="*/ f166 f154 1"/>
                <a:gd name="f269" fmla="*/ f167 f153 1"/>
                <a:gd name="f270" fmla="*/ f168 f154 1"/>
                <a:gd name="f271" fmla="*/ f169 f153 1"/>
                <a:gd name="f272" fmla="*/ f170 f154 1"/>
                <a:gd name="f273" fmla="*/ f171 f154 1"/>
                <a:gd name="f274" fmla="*/ f172 f153 1"/>
                <a:gd name="f275" fmla="*/ f173 f154 1"/>
                <a:gd name="f276" fmla="*/ f174 f153 1"/>
                <a:gd name="f277" fmla="*/ f175 f154 1"/>
                <a:gd name="f278" fmla="*/ f176 f153 1"/>
                <a:gd name="f279" fmla="*/ f177 f154 1"/>
                <a:gd name="f280" fmla="*/ f178 f153 1"/>
                <a:gd name="f281" fmla="*/ f179 f154 1"/>
                <a:gd name="f282" fmla="*/ f180 f153 1"/>
                <a:gd name="f283" fmla="*/ f181 f154 1"/>
                <a:gd name="f284" fmla="*/ f182 f153 1"/>
                <a:gd name="f285" fmla="*/ f183 f154 1"/>
                <a:gd name="f286" fmla="*/ f184 f153 1"/>
                <a:gd name="f287" fmla="*/ f185 f154 1"/>
                <a:gd name="f288" fmla="*/ f186 f153 1"/>
                <a:gd name="f289" fmla="*/ f187 f154 1"/>
                <a:gd name="f290" fmla="*/ f188 f153 1"/>
                <a:gd name="f291" fmla="*/ f189 f154 1"/>
                <a:gd name="f292" fmla="*/ f190 f153 1"/>
                <a:gd name="f293" fmla="*/ f191 f154 1"/>
                <a:gd name="f294" fmla="*/ f192 f153 1"/>
                <a:gd name="f295" fmla="*/ f193 f154 1"/>
                <a:gd name="f296" fmla="*/ f194 f153 1"/>
                <a:gd name="f297" fmla="*/ f195 f154 1"/>
                <a:gd name="f298" fmla="*/ f196 f153 1"/>
                <a:gd name="f299" fmla="*/ f197 f154 1"/>
                <a:gd name="f300" fmla="*/ f198 f153 1"/>
                <a:gd name="f301" fmla="*/ f199 f154 1"/>
                <a:gd name="f302" fmla="*/ f200 f153 1"/>
                <a:gd name="f303" fmla="*/ f201 f154 1"/>
                <a:gd name="f304" fmla="*/ f202 f153 1"/>
                <a:gd name="f305" fmla="*/ f203 f154 1"/>
                <a:gd name="f306" fmla="*/ f204 f153 1"/>
                <a:gd name="f307" fmla="*/ f205 f153 1"/>
                <a:gd name="f308" fmla="*/ f206 f154 1"/>
                <a:gd name="f309" fmla="*/ f207 f153 1"/>
                <a:gd name="f310" fmla="*/ f208 f154 1"/>
                <a:gd name="f311" fmla="*/ f209 f153 1"/>
                <a:gd name="f312" fmla="*/ f210 f154 1"/>
                <a:gd name="f313" fmla="*/ f211 f153 1"/>
                <a:gd name="f314" fmla="*/ f212 f154 1"/>
                <a:gd name="f315" fmla="*/ f213 f154 1"/>
                <a:gd name="f316" fmla="*/ f214 f153 1"/>
                <a:gd name="f317" fmla="*/ f215 f154 1"/>
                <a:gd name="f318" fmla="*/ f216 f153 1"/>
                <a:gd name="f319" fmla="*/ f217 f154 1"/>
                <a:gd name="f320" fmla="*/ f218 f153 1"/>
                <a:gd name="f321" fmla="*/ f219 f154 1"/>
                <a:gd name="f322" fmla="*/ f220 f153 1"/>
                <a:gd name="f323" fmla="*/ f221 f154 1"/>
                <a:gd name="f324" fmla="*/ f222 f154 1"/>
                <a:gd name="f325" fmla="*/ f223 f153 1"/>
                <a:gd name="f326" fmla="*/ f224 f154 1"/>
                <a:gd name="f327" fmla="*/ f225 f154 1"/>
                <a:gd name="f328" fmla="*/ f226 f153 1"/>
                <a:gd name="f329" fmla="*/ f227 f154 1"/>
                <a:gd name="f330" fmla="*/ f228 f153 1"/>
                <a:gd name="f331" fmla="*/ f229 f154 1"/>
                <a:gd name="f332" fmla="*/ f230 f153 1"/>
                <a:gd name="f333" fmla="*/ f231 f154 1"/>
                <a:gd name="f334" fmla="*/ f232 f153 1"/>
                <a:gd name="f335" fmla="*/ f233 f154 1"/>
                <a:gd name="f336" fmla="*/ f234 f153 1"/>
                <a:gd name="f337" fmla="*/ f235 f153 1"/>
                <a:gd name="f338" fmla="*/ f236 f154 1"/>
                <a:gd name="f339" fmla="*/ f237 f153 1"/>
                <a:gd name="f340" fmla="*/ f238 f154 1"/>
                <a:gd name="f341" fmla="*/ f239 f153 1"/>
                <a:gd name="f342" fmla="*/ f240 f154 1"/>
                <a:gd name="f343" fmla="*/ f241 f153 1"/>
                <a:gd name="f344" fmla="*/ f242 f154 1"/>
                <a:gd name="f345" fmla="*/ f243 f154 1"/>
                <a:gd name="f346" fmla="*/ f244 f153 1"/>
                <a:gd name="f347" fmla="*/ f245 f154 1"/>
                <a:gd name="f348" fmla="*/ f246 f153 1"/>
                <a:gd name="f349" fmla="*/ f247 f154 1"/>
                <a:gd name="f350" fmla="*/ f248 f153 1"/>
                <a:gd name="f351" fmla="*/ f249 f154 1"/>
                <a:gd name="f352" fmla="*/ f250 f153 1"/>
                <a:gd name="f353" fmla="*/ f251 f154 1"/>
                <a:gd name="f354" fmla="*/ f252 f153 1"/>
                <a:gd name="f355" fmla="*/ f253 f15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58">
                  <a:pos x="f263" y="f264"/>
                </a:cxn>
                <a:cxn ang="f258">
                  <a:pos x="f265" y="f266"/>
                </a:cxn>
                <a:cxn ang="f258">
                  <a:pos x="f267" y="f268"/>
                </a:cxn>
                <a:cxn ang="f258">
                  <a:pos x="f269" y="f270"/>
                </a:cxn>
                <a:cxn ang="f258">
                  <a:pos x="f271" y="f272"/>
                </a:cxn>
                <a:cxn ang="f258">
                  <a:pos x="f271" y="f273"/>
                </a:cxn>
                <a:cxn ang="f258">
                  <a:pos x="f274" y="f275"/>
                </a:cxn>
                <a:cxn ang="f258">
                  <a:pos x="f276" y="f277"/>
                </a:cxn>
                <a:cxn ang="f258">
                  <a:pos x="f278" y="f279"/>
                </a:cxn>
                <a:cxn ang="f258">
                  <a:pos x="f280" y="f281"/>
                </a:cxn>
                <a:cxn ang="f258">
                  <a:pos x="f282" y="f283"/>
                </a:cxn>
                <a:cxn ang="f258">
                  <a:pos x="f284" y="f285"/>
                </a:cxn>
                <a:cxn ang="f258">
                  <a:pos x="f286" y="f287"/>
                </a:cxn>
                <a:cxn ang="f258">
                  <a:pos x="f288" y="f289"/>
                </a:cxn>
                <a:cxn ang="f258">
                  <a:pos x="f290" y="f291"/>
                </a:cxn>
                <a:cxn ang="f258">
                  <a:pos x="f292" y="f293"/>
                </a:cxn>
                <a:cxn ang="f258">
                  <a:pos x="f294" y="f295"/>
                </a:cxn>
                <a:cxn ang="f258">
                  <a:pos x="f296" y="f297"/>
                </a:cxn>
                <a:cxn ang="f258">
                  <a:pos x="f298" y="f299"/>
                </a:cxn>
                <a:cxn ang="f258">
                  <a:pos x="f300" y="f301"/>
                </a:cxn>
                <a:cxn ang="f258">
                  <a:pos x="f302" y="f303"/>
                </a:cxn>
                <a:cxn ang="f258">
                  <a:pos x="f304" y="f305"/>
                </a:cxn>
                <a:cxn ang="f258">
                  <a:pos x="f306" y="f275"/>
                </a:cxn>
                <a:cxn ang="f258">
                  <a:pos x="f307" y="f308"/>
                </a:cxn>
                <a:cxn ang="f258">
                  <a:pos x="f309" y="f310"/>
                </a:cxn>
                <a:cxn ang="f258">
                  <a:pos x="f311" y="f312"/>
                </a:cxn>
                <a:cxn ang="f258">
                  <a:pos x="f313" y="f314"/>
                </a:cxn>
                <a:cxn ang="f258">
                  <a:pos x="f313" y="f315"/>
                </a:cxn>
                <a:cxn ang="f258">
                  <a:pos x="f316" y="f317"/>
                </a:cxn>
                <a:cxn ang="f258">
                  <a:pos x="f318" y="f319"/>
                </a:cxn>
                <a:cxn ang="f258">
                  <a:pos x="f320" y="f321"/>
                </a:cxn>
                <a:cxn ang="f258">
                  <a:pos x="f322" y="f323"/>
                </a:cxn>
                <a:cxn ang="f258">
                  <a:pos x="f322" y="f324"/>
                </a:cxn>
                <a:cxn ang="f258">
                  <a:pos x="f320" y="f324"/>
                </a:cxn>
                <a:cxn ang="f258">
                  <a:pos x="f325" y="f326"/>
                </a:cxn>
                <a:cxn ang="f258">
                  <a:pos x="f311" y="f327"/>
                </a:cxn>
                <a:cxn ang="f258">
                  <a:pos x="f328" y="f329"/>
                </a:cxn>
                <a:cxn ang="f258">
                  <a:pos x="f330" y="f331"/>
                </a:cxn>
                <a:cxn ang="f258">
                  <a:pos x="f330" y="f264"/>
                </a:cxn>
                <a:cxn ang="f258">
                  <a:pos x="f332" y="f333"/>
                </a:cxn>
                <a:cxn ang="f258">
                  <a:pos x="f334" y="f335"/>
                </a:cxn>
                <a:cxn ang="f258">
                  <a:pos x="f336" y="f333"/>
                </a:cxn>
                <a:cxn ang="f258">
                  <a:pos x="f337" y="f338"/>
                </a:cxn>
                <a:cxn ang="f258">
                  <a:pos x="f339" y="f340"/>
                </a:cxn>
                <a:cxn ang="f258">
                  <a:pos x="f341" y="f342"/>
                </a:cxn>
                <a:cxn ang="f258">
                  <a:pos x="f343" y="f344"/>
                </a:cxn>
                <a:cxn ang="f258">
                  <a:pos x="f271" y="f345"/>
                </a:cxn>
                <a:cxn ang="f258">
                  <a:pos x="f346" y="f347"/>
                </a:cxn>
                <a:cxn ang="f258">
                  <a:pos x="f348" y="f349"/>
                </a:cxn>
                <a:cxn ang="f258">
                  <a:pos x="f350" y="f351"/>
                </a:cxn>
                <a:cxn ang="f258">
                  <a:pos x="f352" y="f353"/>
                </a:cxn>
                <a:cxn ang="f258">
                  <a:pos x="f354" y="f355"/>
                </a:cxn>
              </a:cxnLst>
              <a:rect l="f259" t="f262" r="f260" b="f261"/>
              <a:pathLst>
                <a:path w="361" h="451">
                  <a:moveTo>
                    <a:pt x="f8" y="f9"/>
                  </a:move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12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6"/>
                  </a:lnTo>
                  <a:lnTo>
                    <a:pt x="f27" y="f28"/>
                  </a:lnTo>
                  <a:lnTo>
                    <a:pt x="f25" y="f29"/>
                  </a:lnTo>
                  <a:lnTo>
                    <a:pt x="f30" y="f31"/>
                  </a:lnTo>
                  <a:lnTo>
                    <a:pt x="f32" y="f33"/>
                  </a:lnTo>
                  <a:lnTo>
                    <a:pt x="f34" y="f35"/>
                  </a:lnTo>
                  <a:lnTo>
                    <a:pt x="f36" y="f37"/>
                  </a:lnTo>
                  <a:lnTo>
                    <a:pt x="f38" y="f39"/>
                  </a:lnTo>
                  <a:lnTo>
                    <a:pt x="f38" y="f40"/>
                  </a:lnTo>
                  <a:lnTo>
                    <a:pt x="f41" y="f42"/>
                  </a:lnTo>
                  <a:lnTo>
                    <a:pt x="f43" y="f44"/>
                  </a:lnTo>
                  <a:lnTo>
                    <a:pt x="f45" y="f46"/>
                  </a:lnTo>
                  <a:lnTo>
                    <a:pt x="f47" y="f48"/>
                  </a:lnTo>
                  <a:lnTo>
                    <a:pt x="f49" y="f50"/>
                  </a:lnTo>
                  <a:lnTo>
                    <a:pt x="f51" y="f52"/>
                  </a:lnTo>
                  <a:lnTo>
                    <a:pt x="f53" y="f54"/>
                  </a:lnTo>
                  <a:lnTo>
                    <a:pt x="f55" y="f56"/>
                  </a:lnTo>
                  <a:lnTo>
                    <a:pt x="f57" y="f56"/>
                  </a:lnTo>
                  <a:lnTo>
                    <a:pt x="f58" y="f59"/>
                  </a:lnTo>
                  <a:lnTo>
                    <a:pt x="f60" y="f61"/>
                  </a:lnTo>
                  <a:lnTo>
                    <a:pt x="f62" y="f7"/>
                  </a:lnTo>
                  <a:lnTo>
                    <a:pt x="f63" y="f61"/>
                  </a:lnTo>
                  <a:lnTo>
                    <a:pt x="f64" y="f65"/>
                  </a:lnTo>
                  <a:lnTo>
                    <a:pt x="f66" y="f67"/>
                  </a:lnTo>
                  <a:lnTo>
                    <a:pt x="f68" y="f69"/>
                  </a:lnTo>
                  <a:lnTo>
                    <a:pt x="f70" y="f71"/>
                  </a:lnTo>
                  <a:lnTo>
                    <a:pt x="f26" y="f71"/>
                  </a:lnTo>
                  <a:lnTo>
                    <a:pt x="f72" y="f73"/>
                  </a:lnTo>
                  <a:lnTo>
                    <a:pt x="f28" y="f74"/>
                  </a:lnTo>
                  <a:lnTo>
                    <a:pt x="f75" y="f76"/>
                  </a:lnTo>
                  <a:lnTo>
                    <a:pt x="f77" y="f78"/>
                  </a:lnTo>
                  <a:lnTo>
                    <a:pt x="f79" y="f76"/>
                  </a:lnTo>
                  <a:lnTo>
                    <a:pt x="f80" y="f42"/>
                  </a:lnTo>
                  <a:lnTo>
                    <a:pt x="f81" y="f82"/>
                  </a:lnTo>
                  <a:lnTo>
                    <a:pt x="f31" y="f39"/>
                  </a:lnTo>
                  <a:lnTo>
                    <a:pt x="f31" y="f83"/>
                  </a:lnTo>
                  <a:lnTo>
                    <a:pt x="f84" y="f33"/>
                  </a:lnTo>
                  <a:lnTo>
                    <a:pt x="f85" y="f86"/>
                  </a:lnTo>
                  <a:lnTo>
                    <a:pt x="f87" y="f31"/>
                  </a:lnTo>
                  <a:lnTo>
                    <a:pt x="f84" y="f81"/>
                  </a:lnTo>
                  <a:lnTo>
                    <a:pt x="f85" y="f88"/>
                  </a:lnTo>
                  <a:lnTo>
                    <a:pt x="f87" y="f89"/>
                  </a:lnTo>
                  <a:lnTo>
                    <a:pt x="f90" y="f91"/>
                  </a:lnTo>
                  <a:lnTo>
                    <a:pt x="f92" y="f93"/>
                  </a:lnTo>
                  <a:lnTo>
                    <a:pt x="f94" y="f95"/>
                  </a:lnTo>
                  <a:lnTo>
                    <a:pt x="f96" y="f97"/>
                  </a:lnTo>
                  <a:lnTo>
                    <a:pt x="f94" y="f98"/>
                  </a:lnTo>
                  <a:lnTo>
                    <a:pt x="f99" y="f62"/>
                  </a:lnTo>
                  <a:lnTo>
                    <a:pt x="f92" y="f60"/>
                  </a:lnTo>
                  <a:lnTo>
                    <a:pt x="f96" y="f100"/>
                  </a:lnTo>
                  <a:lnTo>
                    <a:pt x="f101" y="f102"/>
                  </a:lnTo>
                  <a:lnTo>
                    <a:pt x="f103" y="f104"/>
                  </a:lnTo>
                  <a:lnTo>
                    <a:pt x="f96" y="f105"/>
                  </a:lnTo>
                  <a:lnTo>
                    <a:pt x="f82" y="f106"/>
                  </a:lnTo>
                  <a:lnTo>
                    <a:pt x="f42" y="f107"/>
                  </a:lnTo>
                  <a:lnTo>
                    <a:pt x="f6" y="f108"/>
                  </a:lnTo>
                  <a:lnTo>
                    <a:pt x="f42" y="f109"/>
                  </a:lnTo>
                  <a:lnTo>
                    <a:pt x="f82" y="f110"/>
                  </a:lnTo>
                  <a:lnTo>
                    <a:pt x="f96" y="f109"/>
                  </a:lnTo>
                  <a:lnTo>
                    <a:pt x="f111" y="f19"/>
                  </a:lnTo>
                  <a:lnTo>
                    <a:pt x="f112" y="f51"/>
                  </a:lnTo>
                  <a:lnTo>
                    <a:pt x="f99" y="f113"/>
                  </a:lnTo>
                  <a:lnTo>
                    <a:pt x="f90" y="f114"/>
                  </a:lnTo>
                  <a:lnTo>
                    <a:pt x="f115" y="f116"/>
                  </a:lnTo>
                  <a:lnTo>
                    <a:pt x="f117" y="f118"/>
                  </a:lnTo>
                  <a:lnTo>
                    <a:pt x="f119" y="f120"/>
                  </a:lnTo>
                  <a:lnTo>
                    <a:pt x="f121" y="f122"/>
                  </a:lnTo>
                  <a:lnTo>
                    <a:pt x="f121" y="f123"/>
                  </a:lnTo>
                  <a:lnTo>
                    <a:pt x="f121" y="f11"/>
                  </a:lnTo>
                  <a:lnTo>
                    <a:pt x="f28" y="f9"/>
                  </a:lnTo>
                  <a:lnTo>
                    <a:pt x="f124" y="f125"/>
                  </a:lnTo>
                  <a:lnTo>
                    <a:pt x="f126" y="f125"/>
                  </a:lnTo>
                  <a:lnTo>
                    <a:pt x="f24" y="f34"/>
                  </a:lnTo>
                  <a:lnTo>
                    <a:pt x="f127" y="f9"/>
                  </a:lnTo>
                  <a:lnTo>
                    <a:pt x="f128" y="f125"/>
                  </a:lnTo>
                  <a:lnTo>
                    <a:pt x="f129" y="f9"/>
                  </a:lnTo>
                  <a:lnTo>
                    <a:pt x="f60" y="f9"/>
                  </a:lnTo>
                  <a:lnTo>
                    <a:pt x="f2" y="f130"/>
                  </a:lnTo>
                  <a:lnTo>
                    <a:pt x="f110" y="f131"/>
                  </a:lnTo>
                  <a:lnTo>
                    <a:pt x="f17" y="f30"/>
                  </a:lnTo>
                  <a:lnTo>
                    <a:pt x="f132" y="f133"/>
                  </a:lnTo>
                  <a:lnTo>
                    <a:pt x="f134" y="f135"/>
                  </a:lnTo>
                  <a:lnTo>
                    <a:pt x="f136" y="f137"/>
                  </a:lnTo>
                  <a:lnTo>
                    <a:pt x="f138" y="f139"/>
                  </a:lnTo>
                  <a:lnTo>
                    <a:pt x="f25" y="f140"/>
                  </a:lnTo>
                  <a:lnTo>
                    <a:pt x="f21" y="f141"/>
                  </a:lnTo>
                  <a:lnTo>
                    <a:pt x="f142" y="f143"/>
                  </a:lnTo>
                  <a:lnTo>
                    <a:pt x="f12" y="f144"/>
                  </a:lnTo>
                  <a:lnTo>
                    <a:pt x="f139" y="f145"/>
                  </a:lnTo>
                  <a:lnTo>
                    <a:pt x="f10" y="f5"/>
                  </a:lnTo>
                  <a:lnTo>
                    <a:pt x="f145" y="f144"/>
                  </a:lnTo>
                  <a:lnTo>
                    <a:pt x="f5" y="f146"/>
                  </a:lnTo>
                  <a:lnTo>
                    <a:pt x="f147" y="f148"/>
                  </a:lnTo>
                  <a:lnTo>
                    <a:pt x="f139" y="f149"/>
                  </a:lnTo>
                  <a:lnTo>
                    <a:pt x="f150" y="f151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D9D9D9"/>
            </a:solidFill>
            <a:ln w="6345" cap="flat">
              <a:solidFill>
                <a:srgbClr val="A6A6A6"/>
              </a:solidFill>
              <a:prstDash val="solid"/>
              <a:round/>
            </a:ln>
          </p:spPr>
          <p:txBody>
            <a:bodyPr vert="horz" wrap="square" lIns="68580" tIns="34290" rIns="68580" bIns="3429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290" rtl="0" fontAlgn="auto" hangingPunct="1">
                <a:lnSpc>
                  <a:spcPct val="100000"/>
                </a:lnSpc>
                <a:spcBef>
                  <a:spcPts val="50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000" b="0" i="0" u="none" strike="noStrike" kern="0" cap="none" spc="0" baseline="0">
                <a:solidFill>
                  <a:srgbClr val="133B9C"/>
                </a:solidFill>
                <a:highlight>
                  <a:srgbClr val="008556"/>
                </a:highlight>
                <a:uFillTx/>
                <a:latin typeface="Arial"/>
              </a:endParaRPr>
            </a:p>
          </p:txBody>
        </p:sp>
        <p:sp>
          <p:nvSpPr>
            <p:cNvPr id="46" name="Freeform 171">
              <a:extLst>
                <a:ext uri="{FF2B5EF4-FFF2-40B4-BE49-F238E27FC236}">
                  <a16:creationId xmlns:a16="http://schemas.microsoft.com/office/drawing/2014/main" id="{07085BE0-0CE1-C29D-CD0D-F4CFA22E3338}"/>
                </a:ext>
              </a:extLst>
            </p:cNvPr>
            <p:cNvSpPr/>
            <p:nvPr/>
          </p:nvSpPr>
          <p:spPr>
            <a:xfrm>
              <a:off x="4859971" y="3380737"/>
              <a:ext cx="508854" cy="301587"/>
            </a:xfrm>
            <a:custGeom>
              <a:avLst/>
              <a:gdLst>
                <a:gd name="f0" fmla="val 10800000"/>
                <a:gd name="f1" fmla="val 5400000"/>
                <a:gd name="f2" fmla="val 360"/>
                <a:gd name="f3" fmla="val 180"/>
                <a:gd name="f4" fmla="val w"/>
                <a:gd name="f5" fmla="val h"/>
                <a:gd name="f6" fmla="val 0"/>
                <a:gd name="f7" fmla="val 544"/>
                <a:gd name="f8" fmla="val 540"/>
                <a:gd name="f9" fmla="val 11"/>
                <a:gd name="f10" fmla="val 524"/>
                <a:gd name="f11" fmla="val 43"/>
                <a:gd name="f12" fmla="val 515"/>
                <a:gd name="f13" fmla="val 71"/>
                <a:gd name="f14" fmla="val 499"/>
                <a:gd name="f15" fmla="val 98"/>
                <a:gd name="f16" fmla="val 484"/>
                <a:gd name="f17" fmla="val 127"/>
                <a:gd name="f18" fmla="val 475"/>
                <a:gd name="f19" fmla="val 137"/>
                <a:gd name="f20" fmla="val 479"/>
                <a:gd name="f21" fmla="val 161"/>
                <a:gd name="f22" fmla="val 450"/>
                <a:gd name="f23" fmla="val 179"/>
                <a:gd name="f24" fmla="val 455"/>
                <a:gd name="f25" fmla="val 197"/>
                <a:gd name="f26" fmla="val 217"/>
                <a:gd name="f27" fmla="val 472"/>
                <a:gd name="f28" fmla="val 232"/>
                <a:gd name="f29" fmla="val 470"/>
                <a:gd name="f30" fmla="val 244"/>
                <a:gd name="f31" fmla="val 482"/>
                <a:gd name="f32" fmla="val 264"/>
                <a:gd name="f33" fmla="val 490"/>
                <a:gd name="f34" fmla="val 268"/>
                <a:gd name="f35" fmla="val 284"/>
                <a:gd name="f36" fmla="val 462"/>
                <a:gd name="f37" fmla="val 311"/>
                <a:gd name="f38" fmla="val 459"/>
                <a:gd name="f39" fmla="val 324"/>
                <a:gd name="f40" fmla="val 339"/>
                <a:gd name="f41" fmla="val 457"/>
                <a:gd name="f42" fmla="val 353"/>
                <a:gd name="f43" fmla="val 445"/>
                <a:gd name="f44" fmla="val 437"/>
                <a:gd name="f45" fmla="val 425"/>
                <a:gd name="f46" fmla="val 351"/>
                <a:gd name="f47" fmla="val 417"/>
                <a:gd name="f48" fmla="val 344"/>
                <a:gd name="f49" fmla="val 403"/>
                <a:gd name="f50" fmla="val 380"/>
                <a:gd name="f51" fmla="val 372"/>
                <a:gd name="f52" fmla="val 340"/>
                <a:gd name="f53" fmla="val 363"/>
                <a:gd name="f54" fmla="val 331"/>
                <a:gd name="f55" fmla="val 352"/>
                <a:gd name="f56" fmla="val 320"/>
                <a:gd name="f57" fmla="val 343"/>
                <a:gd name="f58" fmla="val 336"/>
                <a:gd name="f59" fmla="val 315"/>
                <a:gd name="f60" fmla="val 304"/>
                <a:gd name="f61" fmla="val 288"/>
                <a:gd name="f62" fmla="val 323"/>
                <a:gd name="f63" fmla="val 281"/>
                <a:gd name="f64" fmla="val 307"/>
                <a:gd name="f65" fmla="val 266"/>
                <a:gd name="f66" fmla="val 280"/>
                <a:gd name="f67" fmla="val 246"/>
                <a:gd name="f68" fmla="val 265"/>
                <a:gd name="f69" fmla="val 249"/>
                <a:gd name="f70" fmla="val 236"/>
                <a:gd name="f71" fmla="val 237"/>
                <a:gd name="f72" fmla="val 216"/>
                <a:gd name="f73" fmla="val 228"/>
                <a:gd name="f74" fmla="val 208"/>
                <a:gd name="f75" fmla="val 221"/>
                <a:gd name="f76" fmla="val 191"/>
                <a:gd name="f77" fmla="val 214"/>
                <a:gd name="f78" fmla="val 171"/>
                <a:gd name="f79" fmla="val 212"/>
                <a:gd name="f80" fmla="val 146"/>
                <a:gd name="f81" fmla="val 194"/>
                <a:gd name="f82" fmla="val 141"/>
                <a:gd name="f83" fmla="val 189"/>
                <a:gd name="f84" fmla="val 131"/>
                <a:gd name="f85" fmla="val 187"/>
                <a:gd name="f86" fmla="val 130"/>
                <a:gd name="f87" fmla="val 119"/>
                <a:gd name="f88" fmla="val 106"/>
                <a:gd name="f89" fmla="val 94"/>
                <a:gd name="f90" fmla="val 157"/>
                <a:gd name="f91" fmla="val 85"/>
                <a:gd name="f92" fmla="val 142"/>
                <a:gd name="f93" fmla="val 81"/>
                <a:gd name="f94" fmla="val 140"/>
                <a:gd name="f95" fmla="val 69"/>
                <a:gd name="f96" fmla="val 57"/>
                <a:gd name="f97" fmla="val 145"/>
                <a:gd name="f98" fmla="val 45"/>
                <a:gd name="f99" fmla="val 34"/>
                <a:gd name="f100" fmla="val 29"/>
                <a:gd name="f101" fmla="val 117"/>
                <a:gd name="f102" fmla="val 16"/>
                <a:gd name="f103" fmla="val 120"/>
                <a:gd name="f104" fmla="val 12"/>
                <a:gd name="f105" fmla="val 116"/>
                <a:gd name="f106" fmla="val 111"/>
                <a:gd name="f107" fmla="val 87"/>
                <a:gd name="f108" fmla="val 5"/>
                <a:gd name="f109" fmla="val 80"/>
                <a:gd name="f110" fmla="val 72"/>
                <a:gd name="f111" fmla="val 65"/>
                <a:gd name="f112" fmla="val 58"/>
                <a:gd name="f113" fmla="val 7"/>
                <a:gd name="f114" fmla="val 47"/>
                <a:gd name="f115" fmla="val 14"/>
                <a:gd name="f116" fmla="val 38"/>
                <a:gd name="f117" fmla="val 13"/>
                <a:gd name="f118" fmla="val 61"/>
                <a:gd name="f119" fmla="val 66"/>
                <a:gd name="f120" fmla="val 23"/>
                <a:gd name="f121" fmla="val 86"/>
                <a:gd name="f122" fmla="val 33"/>
                <a:gd name="f123" fmla="val 97"/>
                <a:gd name="f124" fmla="val 104"/>
                <a:gd name="f125" fmla="val 164"/>
                <a:gd name="f126" fmla="val 166"/>
                <a:gd name="f127" fmla="val 20"/>
                <a:gd name="f128" fmla="val 186"/>
                <a:gd name="f129" fmla="val 31"/>
                <a:gd name="f130" fmla="val 40"/>
                <a:gd name="f131" fmla="val 199"/>
                <a:gd name="f132" fmla="val 206"/>
                <a:gd name="f133" fmla="val 231"/>
                <a:gd name="f134" fmla="val 53"/>
                <a:gd name="f135" fmla="val 258"/>
                <a:gd name="f136" fmla="val 276"/>
                <a:gd name="f137" fmla="val 291"/>
                <a:gd name="f138" fmla="val 318"/>
                <a:gd name="f139" fmla="val 56"/>
                <a:gd name="f140" fmla="val 337"/>
                <a:gd name="f141" fmla="val 51"/>
                <a:gd name="f142" fmla="val 357"/>
                <a:gd name="f143" fmla="val 370"/>
                <a:gd name="f144" fmla="val 385"/>
                <a:gd name="f145" fmla="val 25"/>
                <a:gd name="f146" fmla="val 439"/>
                <a:gd name="f147" fmla="val 488"/>
                <a:gd name="f148" fmla="val 9"/>
                <a:gd name="f149" fmla="val 495"/>
                <a:gd name="f150" fmla="val 504"/>
                <a:gd name="f151" fmla="+- 0 0 -90"/>
                <a:gd name="f152" fmla="*/ f4 1 544"/>
                <a:gd name="f153" fmla="*/ f5 1 360"/>
                <a:gd name="f154" fmla="+- f2 0 f6"/>
                <a:gd name="f155" fmla="+- f7 0 f6"/>
                <a:gd name="f156" fmla="*/ f151 f0 1"/>
                <a:gd name="f157" fmla="*/ f155 1 544"/>
                <a:gd name="f158" fmla="*/ f154 1 360"/>
                <a:gd name="f159" fmla="*/ f156 1 f3"/>
                <a:gd name="f160" fmla="*/ 544 1 f157"/>
                <a:gd name="f161" fmla="*/ 11 1 f158"/>
                <a:gd name="f162" fmla="*/ 515 1 f157"/>
                <a:gd name="f163" fmla="*/ 71 1 f158"/>
                <a:gd name="f164" fmla="*/ 484 1 f157"/>
                <a:gd name="f165" fmla="*/ 127 1 f158"/>
                <a:gd name="f166" fmla="*/ 479 1 f157"/>
                <a:gd name="f167" fmla="*/ 161 1 f158"/>
                <a:gd name="f168" fmla="*/ 455 1 f157"/>
                <a:gd name="f169" fmla="*/ 197 1 f158"/>
                <a:gd name="f170" fmla="*/ 472 1 f157"/>
                <a:gd name="f171" fmla="*/ 232 1 f158"/>
                <a:gd name="f172" fmla="*/ 482 1 f157"/>
                <a:gd name="f173" fmla="*/ 264 1 f158"/>
                <a:gd name="f174" fmla="*/ 490 1 f157"/>
                <a:gd name="f175" fmla="*/ 284 1 f158"/>
                <a:gd name="f176" fmla="*/ 459 1 f157"/>
                <a:gd name="f177" fmla="*/ 324 1 f158"/>
                <a:gd name="f178" fmla="*/ 457 1 f157"/>
                <a:gd name="f179" fmla="*/ 353 1 f158"/>
                <a:gd name="f180" fmla="*/ 437 1 f157"/>
                <a:gd name="f181" fmla="*/ 360 1 f158"/>
                <a:gd name="f182" fmla="*/ 417 1 f157"/>
                <a:gd name="f183" fmla="*/ 344 1 f158"/>
                <a:gd name="f184" fmla="*/ 380 1 f157"/>
                <a:gd name="f185" fmla="*/ 339 1 f158"/>
                <a:gd name="f186" fmla="*/ 363 1 f157"/>
                <a:gd name="f187" fmla="*/ 331 1 f158"/>
                <a:gd name="f188" fmla="*/ 343 1 f157"/>
                <a:gd name="f189" fmla="*/ 320 1 f158"/>
                <a:gd name="f190" fmla="*/ 336 1 f157"/>
                <a:gd name="f191" fmla="*/ 304 1 f158"/>
                <a:gd name="f192" fmla="*/ 323 1 f157"/>
                <a:gd name="f193" fmla="*/ 281 1 f158"/>
                <a:gd name="f194" fmla="*/ 280 1 f157"/>
                <a:gd name="f195" fmla="*/ 246 1 f158"/>
                <a:gd name="f196" fmla="*/ 249 1 f157"/>
                <a:gd name="f197" fmla="*/ 216 1 f157"/>
                <a:gd name="f198" fmla="*/ 228 1 f158"/>
                <a:gd name="f199" fmla="*/ 191 1 f157"/>
                <a:gd name="f200" fmla="*/ 214 1 f158"/>
                <a:gd name="f201" fmla="*/ 161 1 f157"/>
                <a:gd name="f202" fmla="*/ 212 1 f158"/>
                <a:gd name="f203" fmla="*/ 141 1 f157"/>
                <a:gd name="f204" fmla="*/ 189 1 f158"/>
                <a:gd name="f205" fmla="*/ 130 1 f157"/>
                <a:gd name="f206" fmla="*/ 179 1 f158"/>
                <a:gd name="f207" fmla="*/ 106 1 f157"/>
                <a:gd name="f208" fmla="*/ 85 1 f157"/>
                <a:gd name="f209" fmla="*/ 142 1 f158"/>
                <a:gd name="f210" fmla="*/ 69 1 f157"/>
                <a:gd name="f211" fmla="*/ 140 1 f158"/>
                <a:gd name="f212" fmla="*/ 45 1 f157"/>
                <a:gd name="f213" fmla="*/ 145 1 f158"/>
                <a:gd name="f214" fmla="*/ 34 1 f157"/>
                <a:gd name="f215" fmla="*/ 16 1 f157"/>
                <a:gd name="f216" fmla="*/ 120 1 f158"/>
                <a:gd name="f217" fmla="*/ 111 1 f158"/>
                <a:gd name="f218" fmla="*/ 0 1 f157"/>
                <a:gd name="f219" fmla="*/ 87 1 f158"/>
                <a:gd name="f220" fmla="*/ 12 1 f157"/>
                <a:gd name="f221" fmla="*/ 72 1 f158"/>
                <a:gd name="f222" fmla="*/ 5 1 f157"/>
                <a:gd name="f223" fmla="*/ 58 1 f158"/>
                <a:gd name="f224" fmla="*/ 14 1 f157"/>
                <a:gd name="f225" fmla="*/ 38 1 f158"/>
                <a:gd name="f226" fmla="*/ 61 1 f157"/>
                <a:gd name="f227" fmla="*/ 16 1 f158"/>
                <a:gd name="f228" fmla="*/ 86 1 f157"/>
                <a:gd name="f229" fmla="*/ 33 1 f158"/>
                <a:gd name="f230" fmla="*/ 104 1 f157"/>
                <a:gd name="f231" fmla="*/ 166 1 f157"/>
                <a:gd name="f232" fmla="*/ 20 1 f158"/>
                <a:gd name="f233" fmla="*/ 40 1 f158"/>
                <a:gd name="f234" fmla="*/ 206 1 f157"/>
                <a:gd name="f235" fmla="*/ 244 1 f157"/>
                <a:gd name="f236" fmla="*/ 276 1 f157"/>
                <a:gd name="f237" fmla="*/ 43 1 f158"/>
                <a:gd name="f238" fmla="*/ 307 1 f157"/>
                <a:gd name="f239" fmla="*/ 53 1 f158"/>
                <a:gd name="f240" fmla="*/ 337 1 f157"/>
                <a:gd name="f241" fmla="*/ 51 1 f158"/>
                <a:gd name="f242" fmla="*/ 370 1 f157"/>
                <a:gd name="f243" fmla="*/ 47 1 f158"/>
                <a:gd name="f244" fmla="*/ 403 1 f157"/>
                <a:gd name="f245" fmla="*/ 31 1 f158"/>
                <a:gd name="f246" fmla="*/ 439 1 f157"/>
                <a:gd name="f247" fmla="*/ 23 1 f158"/>
                <a:gd name="f248" fmla="*/ 495 1 f157"/>
                <a:gd name="f249" fmla="*/ 5 1 f158"/>
                <a:gd name="f250" fmla="*/ 524 1 f157"/>
                <a:gd name="f251" fmla="*/ 9 1 f158"/>
                <a:gd name="f252" fmla="*/ f7 1 f157"/>
                <a:gd name="f253" fmla="*/ 0 1 f158"/>
                <a:gd name="f254" fmla="*/ f2 1 f158"/>
                <a:gd name="f255" fmla="+- f159 0 f1"/>
                <a:gd name="f256" fmla="*/ f218 f152 1"/>
                <a:gd name="f257" fmla="*/ f252 f152 1"/>
                <a:gd name="f258" fmla="*/ f254 f153 1"/>
                <a:gd name="f259" fmla="*/ f253 f153 1"/>
                <a:gd name="f260" fmla="*/ f160 f152 1"/>
                <a:gd name="f261" fmla="*/ f161 f153 1"/>
                <a:gd name="f262" fmla="*/ f162 f152 1"/>
                <a:gd name="f263" fmla="*/ f163 f153 1"/>
                <a:gd name="f264" fmla="*/ f164 f152 1"/>
                <a:gd name="f265" fmla="*/ f165 f153 1"/>
                <a:gd name="f266" fmla="*/ f166 f152 1"/>
                <a:gd name="f267" fmla="*/ f167 f153 1"/>
                <a:gd name="f268" fmla="*/ f168 f152 1"/>
                <a:gd name="f269" fmla="*/ f169 f153 1"/>
                <a:gd name="f270" fmla="*/ f170 f152 1"/>
                <a:gd name="f271" fmla="*/ f171 f153 1"/>
                <a:gd name="f272" fmla="*/ f172 f152 1"/>
                <a:gd name="f273" fmla="*/ f173 f153 1"/>
                <a:gd name="f274" fmla="*/ f174 f152 1"/>
                <a:gd name="f275" fmla="*/ f175 f153 1"/>
                <a:gd name="f276" fmla="*/ f176 f152 1"/>
                <a:gd name="f277" fmla="*/ f177 f153 1"/>
                <a:gd name="f278" fmla="*/ f178 f152 1"/>
                <a:gd name="f279" fmla="*/ f179 f153 1"/>
                <a:gd name="f280" fmla="*/ f180 f152 1"/>
                <a:gd name="f281" fmla="*/ f181 f153 1"/>
                <a:gd name="f282" fmla="*/ f182 f152 1"/>
                <a:gd name="f283" fmla="*/ f183 f153 1"/>
                <a:gd name="f284" fmla="*/ f184 f152 1"/>
                <a:gd name="f285" fmla="*/ f185 f153 1"/>
                <a:gd name="f286" fmla="*/ f186 f152 1"/>
                <a:gd name="f287" fmla="*/ f187 f153 1"/>
                <a:gd name="f288" fmla="*/ f188 f152 1"/>
                <a:gd name="f289" fmla="*/ f189 f153 1"/>
                <a:gd name="f290" fmla="*/ f190 f152 1"/>
                <a:gd name="f291" fmla="*/ f191 f153 1"/>
                <a:gd name="f292" fmla="*/ f192 f152 1"/>
                <a:gd name="f293" fmla="*/ f193 f153 1"/>
                <a:gd name="f294" fmla="*/ f194 f152 1"/>
                <a:gd name="f295" fmla="*/ f195 f153 1"/>
                <a:gd name="f296" fmla="*/ f196 f152 1"/>
                <a:gd name="f297" fmla="*/ f197 f152 1"/>
                <a:gd name="f298" fmla="*/ f198 f153 1"/>
                <a:gd name="f299" fmla="*/ f199 f152 1"/>
                <a:gd name="f300" fmla="*/ f200 f153 1"/>
                <a:gd name="f301" fmla="*/ f201 f152 1"/>
                <a:gd name="f302" fmla="*/ f202 f153 1"/>
                <a:gd name="f303" fmla="*/ f203 f152 1"/>
                <a:gd name="f304" fmla="*/ f204 f153 1"/>
                <a:gd name="f305" fmla="*/ f205 f152 1"/>
                <a:gd name="f306" fmla="*/ f206 f153 1"/>
                <a:gd name="f307" fmla="*/ f207 f152 1"/>
                <a:gd name="f308" fmla="*/ f208 f152 1"/>
                <a:gd name="f309" fmla="*/ f209 f153 1"/>
                <a:gd name="f310" fmla="*/ f210 f152 1"/>
                <a:gd name="f311" fmla="*/ f211 f153 1"/>
                <a:gd name="f312" fmla="*/ f212 f152 1"/>
                <a:gd name="f313" fmla="*/ f213 f153 1"/>
                <a:gd name="f314" fmla="*/ f214 f152 1"/>
                <a:gd name="f315" fmla="*/ f215 f152 1"/>
                <a:gd name="f316" fmla="*/ f216 f153 1"/>
                <a:gd name="f317" fmla="*/ f217 f153 1"/>
                <a:gd name="f318" fmla="*/ f219 f153 1"/>
                <a:gd name="f319" fmla="*/ f220 f152 1"/>
                <a:gd name="f320" fmla="*/ f221 f153 1"/>
                <a:gd name="f321" fmla="*/ f222 f152 1"/>
                <a:gd name="f322" fmla="*/ f223 f153 1"/>
                <a:gd name="f323" fmla="*/ f224 f152 1"/>
                <a:gd name="f324" fmla="*/ f225 f153 1"/>
                <a:gd name="f325" fmla="*/ f226 f152 1"/>
                <a:gd name="f326" fmla="*/ f227 f153 1"/>
                <a:gd name="f327" fmla="*/ f228 f152 1"/>
                <a:gd name="f328" fmla="*/ f229 f153 1"/>
                <a:gd name="f329" fmla="*/ f230 f152 1"/>
                <a:gd name="f330" fmla="*/ f231 f152 1"/>
                <a:gd name="f331" fmla="*/ f232 f153 1"/>
                <a:gd name="f332" fmla="*/ f233 f153 1"/>
                <a:gd name="f333" fmla="*/ f234 f152 1"/>
                <a:gd name="f334" fmla="*/ f235 f152 1"/>
                <a:gd name="f335" fmla="*/ f236 f152 1"/>
                <a:gd name="f336" fmla="*/ f237 f153 1"/>
                <a:gd name="f337" fmla="*/ f238 f152 1"/>
                <a:gd name="f338" fmla="*/ f239 f153 1"/>
                <a:gd name="f339" fmla="*/ f240 f152 1"/>
                <a:gd name="f340" fmla="*/ f241 f153 1"/>
                <a:gd name="f341" fmla="*/ f242 f152 1"/>
                <a:gd name="f342" fmla="*/ f243 f153 1"/>
                <a:gd name="f343" fmla="*/ f244 f152 1"/>
                <a:gd name="f344" fmla="*/ f245 f153 1"/>
                <a:gd name="f345" fmla="*/ f246 f152 1"/>
                <a:gd name="f346" fmla="*/ f247 f153 1"/>
                <a:gd name="f347" fmla="*/ f248 f152 1"/>
                <a:gd name="f348" fmla="*/ f249 f153 1"/>
                <a:gd name="f349" fmla="*/ f250 f152 1"/>
                <a:gd name="f350" fmla="*/ f251 f15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55">
                  <a:pos x="f260" y="f261"/>
                </a:cxn>
                <a:cxn ang="f255">
                  <a:pos x="f262" y="f263"/>
                </a:cxn>
                <a:cxn ang="f255">
                  <a:pos x="f264" y="f265"/>
                </a:cxn>
                <a:cxn ang="f255">
                  <a:pos x="f266" y="f267"/>
                </a:cxn>
                <a:cxn ang="f255">
                  <a:pos x="f268" y="f269"/>
                </a:cxn>
                <a:cxn ang="f255">
                  <a:pos x="f270" y="f271"/>
                </a:cxn>
                <a:cxn ang="f255">
                  <a:pos x="f272" y="f273"/>
                </a:cxn>
                <a:cxn ang="f255">
                  <a:pos x="f274" y="f275"/>
                </a:cxn>
                <a:cxn ang="f255">
                  <a:pos x="f276" y="f277"/>
                </a:cxn>
                <a:cxn ang="f255">
                  <a:pos x="f278" y="f279"/>
                </a:cxn>
                <a:cxn ang="f255">
                  <a:pos x="f280" y="f281"/>
                </a:cxn>
                <a:cxn ang="f255">
                  <a:pos x="f282" y="f283"/>
                </a:cxn>
                <a:cxn ang="f255">
                  <a:pos x="f284" y="f285"/>
                </a:cxn>
                <a:cxn ang="f255">
                  <a:pos x="f286" y="f287"/>
                </a:cxn>
                <a:cxn ang="f255">
                  <a:pos x="f288" y="f289"/>
                </a:cxn>
                <a:cxn ang="f255">
                  <a:pos x="f290" y="f291"/>
                </a:cxn>
                <a:cxn ang="f255">
                  <a:pos x="f292" y="f293"/>
                </a:cxn>
                <a:cxn ang="f255">
                  <a:pos x="f294" y="f295"/>
                </a:cxn>
                <a:cxn ang="f255">
                  <a:pos x="f296" y="f295"/>
                </a:cxn>
                <a:cxn ang="f255">
                  <a:pos x="f297" y="f298"/>
                </a:cxn>
                <a:cxn ang="f255">
                  <a:pos x="f299" y="f300"/>
                </a:cxn>
                <a:cxn ang="f255">
                  <a:pos x="f301" y="f302"/>
                </a:cxn>
                <a:cxn ang="f255">
                  <a:pos x="f303" y="f304"/>
                </a:cxn>
                <a:cxn ang="f255">
                  <a:pos x="f305" y="f306"/>
                </a:cxn>
                <a:cxn ang="f255">
                  <a:pos x="f307" y="f267"/>
                </a:cxn>
                <a:cxn ang="f255">
                  <a:pos x="f308" y="f309"/>
                </a:cxn>
                <a:cxn ang="f255">
                  <a:pos x="f310" y="f311"/>
                </a:cxn>
                <a:cxn ang="f255">
                  <a:pos x="f312" y="f313"/>
                </a:cxn>
                <a:cxn ang="f255">
                  <a:pos x="f314" y="f265"/>
                </a:cxn>
                <a:cxn ang="f255">
                  <a:pos x="f315" y="f316"/>
                </a:cxn>
                <a:cxn ang="f255">
                  <a:pos x="f315" y="f317"/>
                </a:cxn>
                <a:cxn ang="f255">
                  <a:pos x="f256" y="f318"/>
                </a:cxn>
                <a:cxn ang="f255">
                  <a:pos x="f319" y="f320"/>
                </a:cxn>
                <a:cxn ang="f255">
                  <a:pos x="f321" y="f322"/>
                </a:cxn>
                <a:cxn ang="f255">
                  <a:pos x="f323" y="f324"/>
                </a:cxn>
                <a:cxn ang="f255">
                  <a:pos x="f325" y="f326"/>
                </a:cxn>
                <a:cxn ang="f255">
                  <a:pos x="f327" y="f328"/>
                </a:cxn>
                <a:cxn ang="f255">
                  <a:pos x="f329" y="f261"/>
                </a:cxn>
                <a:cxn ang="f255">
                  <a:pos x="f330" y="f331"/>
                </a:cxn>
                <a:cxn ang="f255">
                  <a:pos x="f299" y="f332"/>
                </a:cxn>
                <a:cxn ang="f255">
                  <a:pos x="f333" y="f332"/>
                </a:cxn>
                <a:cxn ang="f255">
                  <a:pos x="f334" y="f322"/>
                </a:cxn>
                <a:cxn ang="f255">
                  <a:pos x="f335" y="f336"/>
                </a:cxn>
                <a:cxn ang="f255">
                  <a:pos x="f337" y="f338"/>
                </a:cxn>
                <a:cxn ang="f255">
                  <a:pos x="f339" y="f340"/>
                </a:cxn>
                <a:cxn ang="f255">
                  <a:pos x="f341" y="f342"/>
                </a:cxn>
                <a:cxn ang="f255">
                  <a:pos x="f343" y="f344"/>
                </a:cxn>
                <a:cxn ang="f255">
                  <a:pos x="f345" y="f346"/>
                </a:cxn>
                <a:cxn ang="f255">
                  <a:pos x="f270" y="f346"/>
                </a:cxn>
                <a:cxn ang="f255">
                  <a:pos x="f347" y="f348"/>
                </a:cxn>
                <a:cxn ang="f255">
                  <a:pos x="f349" y="f350"/>
                </a:cxn>
              </a:cxnLst>
              <a:rect l="f256" t="f259" r="f257" b="f258"/>
              <a:pathLst>
                <a:path w="544" h="360">
                  <a:moveTo>
                    <a:pt x="f8" y="f6"/>
                  </a:moveTo>
                  <a:lnTo>
                    <a:pt x="f7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5"/>
                  </a:lnTo>
                  <a:lnTo>
                    <a:pt x="f24" y="f26"/>
                  </a:lnTo>
                  <a:lnTo>
                    <a:pt x="f27" y="f28"/>
                  </a:lnTo>
                  <a:lnTo>
                    <a:pt x="f29" y="f30"/>
                  </a:lnTo>
                  <a:lnTo>
                    <a:pt x="f31" y="f32"/>
                  </a:lnTo>
                  <a:lnTo>
                    <a:pt x="f33" y="f34"/>
                  </a:lnTo>
                  <a:lnTo>
                    <a:pt x="f33" y="f35"/>
                  </a:lnTo>
                  <a:lnTo>
                    <a:pt x="f36" y="f37"/>
                  </a:lnTo>
                  <a:lnTo>
                    <a:pt x="f38" y="f39"/>
                  </a:lnTo>
                  <a:lnTo>
                    <a:pt x="f36" y="f40"/>
                  </a:lnTo>
                  <a:lnTo>
                    <a:pt x="f41" y="f42"/>
                  </a:lnTo>
                  <a:lnTo>
                    <a:pt x="f43" y="f2"/>
                  </a:lnTo>
                  <a:lnTo>
                    <a:pt x="f44" y="f2"/>
                  </a:lnTo>
                  <a:lnTo>
                    <a:pt x="f45" y="f46"/>
                  </a:lnTo>
                  <a:lnTo>
                    <a:pt x="f47" y="f48"/>
                  </a:lnTo>
                  <a:lnTo>
                    <a:pt x="f49" y="f48"/>
                  </a:lnTo>
                  <a:lnTo>
                    <a:pt x="f50" y="f40"/>
                  </a:lnTo>
                  <a:lnTo>
                    <a:pt x="f51" y="f52"/>
                  </a:lnTo>
                  <a:lnTo>
                    <a:pt x="f53" y="f54"/>
                  </a:lnTo>
                  <a:lnTo>
                    <a:pt x="f55" y="f56"/>
                  </a:lnTo>
                  <a:lnTo>
                    <a:pt x="f57" y="f56"/>
                  </a:lnTo>
                  <a:lnTo>
                    <a:pt x="f58" y="f59"/>
                  </a:lnTo>
                  <a:lnTo>
                    <a:pt x="f58" y="f60"/>
                  </a:lnTo>
                  <a:lnTo>
                    <a:pt x="f54" y="f61"/>
                  </a:lnTo>
                  <a:lnTo>
                    <a:pt x="f62" y="f63"/>
                  </a:lnTo>
                  <a:lnTo>
                    <a:pt x="f64" y="f65"/>
                  </a:lnTo>
                  <a:lnTo>
                    <a:pt x="f66" y="f67"/>
                  </a:lnTo>
                  <a:lnTo>
                    <a:pt x="f68" y="f67"/>
                  </a:lnTo>
                  <a:lnTo>
                    <a:pt x="f69" y="f67"/>
                  </a:lnTo>
                  <a:lnTo>
                    <a:pt x="f70" y="f71"/>
                  </a:lnTo>
                  <a:lnTo>
                    <a:pt x="f72" y="f73"/>
                  </a:lnTo>
                  <a:lnTo>
                    <a:pt x="f74" y="f75"/>
                  </a:lnTo>
                  <a:lnTo>
                    <a:pt x="f76" y="f77"/>
                  </a:lnTo>
                  <a:lnTo>
                    <a:pt x="f78" y="f79"/>
                  </a:lnTo>
                  <a:lnTo>
                    <a:pt x="f21" y="f79"/>
                  </a:lnTo>
                  <a:lnTo>
                    <a:pt x="f80" y="f81"/>
                  </a:lnTo>
                  <a:lnTo>
                    <a:pt x="f82" y="f83"/>
                  </a:lnTo>
                  <a:lnTo>
                    <a:pt x="f84" y="f85"/>
                  </a:lnTo>
                  <a:lnTo>
                    <a:pt x="f86" y="f23"/>
                  </a:lnTo>
                  <a:lnTo>
                    <a:pt x="f87" y="f21"/>
                  </a:lnTo>
                  <a:lnTo>
                    <a:pt x="f88" y="f21"/>
                  </a:lnTo>
                  <a:lnTo>
                    <a:pt x="f89" y="f90"/>
                  </a:lnTo>
                  <a:lnTo>
                    <a:pt x="f91" y="f92"/>
                  </a:lnTo>
                  <a:lnTo>
                    <a:pt x="f93" y="f94"/>
                  </a:lnTo>
                  <a:lnTo>
                    <a:pt x="f95" y="f94"/>
                  </a:lnTo>
                  <a:lnTo>
                    <a:pt x="f96" y="f97"/>
                  </a:lnTo>
                  <a:lnTo>
                    <a:pt x="f98" y="f97"/>
                  </a:lnTo>
                  <a:lnTo>
                    <a:pt x="f99" y="f19"/>
                  </a:lnTo>
                  <a:lnTo>
                    <a:pt x="f99" y="f17"/>
                  </a:lnTo>
                  <a:lnTo>
                    <a:pt x="f100" y="f101"/>
                  </a:lnTo>
                  <a:lnTo>
                    <a:pt x="f102" y="f103"/>
                  </a:lnTo>
                  <a:lnTo>
                    <a:pt x="f104" y="f105"/>
                  </a:lnTo>
                  <a:lnTo>
                    <a:pt x="f102" y="f106"/>
                  </a:lnTo>
                  <a:lnTo>
                    <a:pt x="f6" y="f15"/>
                  </a:lnTo>
                  <a:lnTo>
                    <a:pt x="f6" y="f107"/>
                  </a:lnTo>
                  <a:lnTo>
                    <a:pt x="f108" y="f109"/>
                  </a:lnTo>
                  <a:lnTo>
                    <a:pt x="f104" y="f110"/>
                  </a:lnTo>
                  <a:lnTo>
                    <a:pt x="f104" y="f111"/>
                  </a:lnTo>
                  <a:lnTo>
                    <a:pt x="f108" y="f112"/>
                  </a:lnTo>
                  <a:lnTo>
                    <a:pt x="f113" y="f114"/>
                  </a:lnTo>
                  <a:lnTo>
                    <a:pt x="f115" y="f116"/>
                  </a:lnTo>
                  <a:lnTo>
                    <a:pt x="f114" y="f117"/>
                  </a:lnTo>
                  <a:lnTo>
                    <a:pt x="f118" y="f102"/>
                  </a:lnTo>
                  <a:lnTo>
                    <a:pt x="f119" y="f120"/>
                  </a:lnTo>
                  <a:lnTo>
                    <a:pt x="f121" y="f122"/>
                  </a:lnTo>
                  <a:lnTo>
                    <a:pt x="f123" y="f120"/>
                  </a:lnTo>
                  <a:lnTo>
                    <a:pt x="f124" y="f9"/>
                  </a:lnTo>
                  <a:lnTo>
                    <a:pt x="f125" y="f9"/>
                  </a:lnTo>
                  <a:lnTo>
                    <a:pt x="f126" y="f127"/>
                  </a:lnTo>
                  <a:lnTo>
                    <a:pt x="f128" y="f129"/>
                  </a:lnTo>
                  <a:lnTo>
                    <a:pt x="f76" y="f130"/>
                  </a:lnTo>
                  <a:lnTo>
                    <a:pt x="f131" y="f98"/>
                  </a:lnTo>
                  <a:lnTo>
                    <a:pt x="f132" y="f130"/>
                  </a:lnTo>
                  <a:lnTo>
                    <a:pt x="f133" y="f134"/>
                  </a:lnTo>
                  <a:lnTo>
                    <a:pt x="f30" y="f112"/>
                  </a:lnTo>
                  <a:lnTo>
                    <a:pt x="f135" y="f134"/>
                  </a:lnTo>
                  <a:lnTo>
                    <a:pt x="f136" y="f11"/>
                  </a:lnTo>
                  <a:lnTo>
                    <a:pt x="f137" y="f11"/>
                  </a:lnTo>
                  <a:lnTo>
                    <a:pt x="f64" y="f134"/>
                  </a:lnTo>
                  <a:lnTo>
                    <a:pt x="f138" y="f139"/>
                  </a:lnTo>
                  <a:lnTo>
                    <a:pt x="f140" y="f141"/>
                  </a:lnTo>
                  <a:lnTo>
                    <a:pt x="f142" y="f134"/>
                  </a:lnTo>
                  <a:lnTo>
                    <a:pt x="f143" y="f114"/>
                  </a:lnTo>
                  <a:lnTo>
                    <a:pt x="f144" y="f11"/>
                  </a:lnTo>
                  <a:lnTo>
                    <a:pt x="f49" y="f129"/>
                  </a:lnTo>
                  <a:lnTo>
                    <a:pt x="f47" y="f145"/>
                  </a:lnTo>
                  <a:lnTo>
                    <a:pt x="f146" y="f120"/>
                  </a:lnTo>
                  <a:lnTo>
                    <a:pt x="f41" y="f145"/>
                  </a:lnTo>
                  <a:lnTo>
                    <a:pt x="f27" y="f120"/>
                  </a:lnTo>
                  <a:lnTo>
                    <a:pt x="f147" y="f148"/>
                  </a:lnTo>
                  <a:lnTo>
                    <a:pt x="f149" y="f108"/>
                  </a:lnTo>
                  <a:lnTo>
                    <a:pt x="f150" y="f148"/>
                  </a:lnTo>
                  <a:lnTo>
                    <a:pt x="f10" y="f148"/>
                  </a:lnTo>
                  <a:lnTo>
                    <a:pt x="f8" y="f6"/>
                  </a:lnTo>
                  <a:close/>
                </a:path>
              </a:pathLst>
            </a:custGeom>
            <a:solidFill>
              <a:srgbClr val="D9D9D9"/>
            </a:solidFill>
            <a:ln w="6345" cap="flat">
              <a:solidFill>
                <a:srgbClr val="A6A6A6"/>
              </a:solidFill>
              <a:prstDash val="solid"/>
              <a:round/>
            </a:ln>
          </p:spPr>
          <p:txBody>
            <a:bodyPr vert="horz" wrap="square" lIns="68580" tIns="34290" rIns="68580" bIns="3429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290" rtl="0" fontAlgn="auto" hangingPunct="1">
                <a:lnSpc>
                  <a:spcPct val="100000"/>
                </a:lnSpc>
                <a:spcBef>
                  <a:spcPts val="50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000" b="0" i="0" u="none" strike="noStrike" kern="0" cap="none" spc="0" baseline="0">
                <a:solidFill>
                  <a:srgbClr val="133B9C"/>
                </a:solidFill>
                <a:highlight>
                  <a:srgbClr val="008556"/>
                </a:highlight>
                <a:uFillTx/>
                <a:latin typeface="Arial"/>
              </a:endParaRPr>
            </a:p>
          </p:txBody>
        </p:sp>
        <p:sp>
          <p:nvSpPr>
            <p:cNvPr id="47" name="Freeform 160">
              <a:extLst>
                <a:ext uri="{FF2B5EF4-FFF2-40B4-BE49-F238E27FC236}">
                  <a16:creationId xmlns:a16="http://schemas.microsoft.com/office/drawing/2014/main" id="{ACBE9378-54F5-78BD-A78A-32CE0AF9D626}"/>
                </a:ext>
              </a:extLst>
            </p:cNvPr>
            <p:cNvSpPr/>
            <p:nvPr/>
          </p:nvSpPr>
          <p:spPr>
            <a:xfrm>
              <a:off x="4788886" y="2421148"/>
              <a:ext cx="374154" cy="317497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00"/>
                <a:gd name="f7" fmla="val 379"/>
                <a:gd name="f8" fmla="val 71"/>
                <a:gd name="f9" fmla="val 8"/>
                <a:gd name="f10" fmla="val 82"/>
                <a:gd name="f11" fmla="val 13"/>
                <a:gd name="f12" fmla="val 20"/>
                <a:gd name="f13" fmla="val 73"/>
                <a:gd name="f14" fmla="val 31"/>
                <a:gd name="f15" fmla="val 80"/>
                <a:gd name="f16" fmla="val 47"/>
                <a:gd name="f17" fmla="val 89"/>
                <a:gd name="f18" fmla="val 42"/>
                <a:gd name="f19" fmla="val 105"/>
                <a:gd name="f20" fmla="val 109"/>
                <a:gd name="f21" fmla="val 118"/>
                <a:gd name="f22" fmla="val 50"/>
                <a:gd name="f23" fmla="val 122"/>
                <a:gd name="f24" fmla="val 62"/>
                <a:gd name="f25" fmla="val 70"/>
                <a:gd name="f26" fmla="val 127"/>
                <a:gd name="f27" fmla="val 75"/>
                <a:gd name="f28" fmla="val 132"/>
                <a:gd name="f29" fmla="val 140"/>
                <a:gd name="f30" fmla="val 87"/>
                <a:gd name="f31" fmla="val 145"/>
                <a:gd name="f32" fmla="val 95"/>
                <a:gd name="f33" fmla="val 150"/>
                <a:gd name="f34" fmla="val 96"/>
                <a:gd name="f35" fmla="val 165"/>
                <a:gd name="f36" fmla="val 170"/>
                <a:gd name="f37" fmla="val 179"/>
                <a:gd name="f38" fmla="val 192"/>
                <a:gd name="f39" fmla="val 203"/>
                <a:gd name="f40" fmla="val 76"/>
                <a:gd name="f41" fmla="val 210"/>
                <a:gd name="f42" fmla="val 223"/>
                <a:gd name="f43" fmla="val 228"/>
                <a:gd name="f44" fmla="val 243"/>
                <a:gd name="f45" fmla="val 51"/>
                <a:gd name="f46" fmla="val 247"/>
                <a:gd name="f47" fmla="val 252"/>
                <a:gd name="f48" fmla="val 55"/>
                <a:gd name="f49" fmla="val 261"/>
                <a:gd name="f50" fmla="val 273"/>
                <a:gd name="f51" fmla="val 279"/>
                <a:gd name="f52" fmla="val 293"/>
                <a:gd name="f53" fmla="val 40"/>
                <a:gd name="f54" fmla="val 299"/>
                <a:gd name="f55" fmla="val 297"/>
                <a:gd name="f56" fmla="val 289"/>
                <a:gd name="f57" fmla="val 56"/>
                <a:gd name="f58" fmla="val 284"/>
                <a:gd name="f59" fmla="val 64"/>
                <a:gd name="f60" fmla="val 272"/>
                <a:gd name="f61" fmla="val 259"/>
                <a:gd name="f62" fmla="val 254"/>
                <a:gd name="f63" fmla="val 257"/>
                <a:gd name="f64" fmla="val 248"/>
                <a:gd name="f65" fmla="val 100"/>
                <a:gd name="f66" fmla="val 107"/>
                <a:gd name="f67" fmla="val 244"/>
                <a:gd name="f68" fmla="val 116"/>
                <a:gd name="f69" fmla="val 134"/>
                <a:gd name="f70" fmla="val 141"/>
                <a:gd name="f71" fmla="val 151"/>
                <a:gd name="f72" fmla="val 171"/>
                <a:gd name="f73" fmla="val 187"/>
                <a:gd name="f74" fmla="val 194"/>
                <a:gd name="f75" fmla="val 191"/>
                <a:gd name="f76" fmla="val 198"/>
                <a:gd name="f77" fmla="val 306"/>
                <a:gd name="f78" fmla="val 207"/>
                <a:gd name="f79" fmla="val 324"/>
                <a:gd name="f80" fmla="val 353"/>
                <a:gd name="f81" fmla="val 245"/>
                <a:gd name="f82" fmla="val 364"/>
                <a:gd name="f83" fmla="val 251"/>
                <a:gd name="f84" fmla="val 393"/>
                <a:gd name="f85" fmla="val 265"/>
                <a:gd name="f86" fmla="val 398"/>
                <a:gd name="f87" fmla="val 283"/>
                <a:gd name="f88" fmla="val 295"/>
                <a:gd name="f89" fmla="val 303"/>
                <a:gd name="f90" fmla="val 310"/>
                <a:gd name="f91" fmla="val 391"/>
                <a:gd name="f92" fmla="val 315"/>
                <a:gd name="f93" fmla="val 385"/>
                <a:gd name="f94" fmla="val 317"/>
                <a:gd name="f95" fmla="val 380"/>
                <a:gd name="f96" fmla="val 328"/>
                <a:gd name="f97" fmla="val 339"/>
                <a:gd name="f98" fmla="val 373"/>
                <a:gd name="f99" fmla="val 350"/>
                <a:gd name="f100" fmla="val 366"/>
                <a:gd name="f101" fmla="val 357"/>
                <a:gd name="f102" fmla="val 362"/>
                <a:gd name="f103" fmla="val 372"/>
                <a:gd name="f104" fmla="val 351"/>
                <a:gd name="f105" fmla="val 375"/>
                <a:gd name="f106" fmla="val 333"/>
                <a:gd name="f107" fmla="val 326"/>
                <a:gd name="f108" fmla="val 313"/>
                <a:gd name="f109" fmla="val 355"/>
                <a:gd name="f110" fmla="val 281"/>
                <a:gd name="f111" fmla="val 352"/>
                <a:gd name="f112" fmla="val 239"/>
                <a:gd name="f113" fmla="val 337"/>
                <a:gd name="f114" fmla="val 224"/>
                <a:gd name="f115" fmla="val 312"/>
                <a:gd name="f116" fmla="val 305"/>
                <a:gd name="f117" fmla="val 167"/>
                <a:gd name="f118" fmla="val 290"/>
                <a:gd name="f119" fmla="val 142"/>
                <a:gd name="f120" fmla="val 268"/>
                <a:gd name="f121" fmla="val 112"/>
                <a:gd name="f122" fmla="val 236"/>
                <a:gd name="f123" fmla="val 102"/>
                <a:gd name="f124" fmla="val 216"/>
                <a:gd name="f125" fmla="val 183"/>
                <a:gd name="f126" fmla="val 163"/>
                <a:gd name="f127" fmla="val 26"/>
                <a:gd name="f128" fmla="val 120"/>
                <a:gd name="f129" fmla="val 15"/>
                <a:gd name="f130" fmla="val 37"/>
                <a:gd name="f131" fmla="val 27"/>
                <a:gd name="f132" fmla="val 22"/>
                <a:gd name="f133" fmla="val 58"/>
                <a:gd name="f134" fmla="+- 0 0 -90"/>
                <a:gd name="f135" fmla="*/ f3 1 400"/>
                <a:gd name="f136" fmla="*/ f4 1 379"/>
                <a:gd name="f137" fmla="+- f7 0 f5"/>
                <a:gd name="f138" fmla="+- f6 0 f5"/>
                <a:gd name="f139" fmla="*/ f134 f0 1"/>
                <a:gd name="f140" fmla="*/ f138 1 400"/>
                <a:gd name="f141" fmla="*/ f137 1 379"/>
                <a:gd name="f142" fmla="*/ f139 1 f2"/>
                <a:gd name="f143" fmla="*/ 82 1 f140"/>
                <a:gd name="f144" fmla="*/ 13 1 f141"/>
                <a:gd name="f145" fmla="*/ 73 1 f140"/>
                <a:gd name="f146" fmla="*/ 31 1 f141"/>
                <a:gd name="f147" fmla="*/ 89 1 f140"/>
                <a:gd name="f148" fmla="*/ 42 1 f141"/>
                <a:gd name="f149" fmla="*/ 109 1 f140"/>
                <a:gd name="f150" fmla="*/ 122 1 f140"/>
                <a:gd name="f151" fmla="*/ 62 1 f141"/>
                <a:gd name="f152" fmla="*/ 127 1 f140"/>
                <a:gd name="f153" fmla="*/ 75 1 f141"/>
                <a:gd name="f154" fmla="*/ 140 1 f140"/>
                <a:gd name="f155" fmla="*/ 87 1 f141"/>
                <a:gd name="f156" fmla="*/ 150 1 f140"/>
                <a:gd name="f157" fmla="*/ 96 1 f141"/>
                <a:gd name="f158" fmla="*/ 170 1 f140"/>
                <a:gd name="f159" fmla="*/ 192 1 f140"/>
                <a:gd name="f160" fmla="*/ 210 1 f140"/>
                <a:gd name="f161" fmla="*/ 76 1 f141"/>
                <a:gd name="f162" fmla="*/ 228 1 f140"/>
                <a:gd name="f163" fmla="*/ 71 1 f141"/>
                <a:gd name="f164" fmla="*/ 247 1 f140"/>
                <a:gd name="f165" fmla="*/ 51 1 f141"/>
                <a:gd name="f166" fmla="*/ 261 1 f140"/>
                <a:gd name="f167" fmla="*/ 279 1 f140"/>
                <a:gd name="f168" fmla="*/ 47 1 f141"/>
                <a:gd name="f169" fmla="*/ 299 1 f140"/>
                <a:gd name="f170" fmla="*/ 289 1 f140"/>
                <a:gd name="f171" fmla="*/ 56 1 f141"/>
                <a:gd name="f172" fmla="*/ 272 1 f140"/>
                <a:gd name="f173" fmla="*/ 64 1 f141"/>
                <a:gd name="f174" fmla="*/ 254 1 f140"/>
                <a:gd name="f175" fmla="*/ 82 1 f141"/>
                <a:gd name="f176" fmla="*/ 257 1 f140"/>
                <a:gd name="f177" fmla="*/ 107 1 f141"/>
                <a:gd name="f178" fmla="*/ 134 1 f141"/>
                <a:gd name="f179" fmla="*/ 151 1 f141"/>
                <a:gd name="f180" fmla="*/ 248 1 f140"/>
                <a:gd name="f181" fmla="*/ 187 1 f141"/>
                <a:gd name="f182" fmla="*/ 191 1 f141"/>
                <a:gd name="f183" fmla="*/ 306 1 f140"/>
                <a:gd name="f184" fmla="*/ 207 1 f141"/>
                <a:gd name="f185" fmla="*/ 353 1 f140"/>
                <a:gd name="f186" fmla="*/ 245 1 f141"/>
                <a:gd name="f187" fmla="*/ 379 1 f140"/>
                <a:gd name="f188" fmla="*/ 251 1 f141"/>
                <a:gd name="f189" fmla="*/ 398 1 f140"/>
                <a:gd name="f190" fmla="*/ 283 1 f141"/>
                <a:gd name="f191" fmla="*/ 303 1 f141"/>
                <a:gd name="f192" fmla="*/ 391 1 f140"/>
                <a:gd name="f193" fmla="*/ 315 1 f141"/>
                <a:gd name="f194" fmla="*/ 380 1 f140"/>
                <a:gd name="f195" fmla="*/ 317 1 f141"/>
                <a:gd name="f196" fmla="*/ 339 1 f141"/>
                <a:gd name="f197" fmla="*/ 366 1 f140"/>
                <a:gd name="f198" fmla="*/ 357 1 f141"/>
                <a:gd name="f199" fmla="*/ 362 1 f140"/>
                <a:gd name="f200" fmla="*/ 372 1 f141"/>
                <a:gd name="f201" fmla="*/ 333 1 f140"/>
                <a:gd name="f202" fmla="*/ 379 1 f141"/>
                <a:gd name="f203" fmla="*/ 313 1 f140"/>
                <a:gd name="f204" fmla="*/ 364 1 f141"/>
                <a:gd name="f205" fmla="*/ 281 1 f140"/>
                <a:gd name="f206" fmla="*/ 352 1 f141"/>
                <a:gd name="f207" fmla="*/ 239 1 f140"/>
                <a:gd name="f208" fmla="*/ 224 1 f140"/>
                <a:gd name="f209" fmla="*/ 328 1 f141"/>
                <a:gd name="f210" fmla="*/ 187 1 f140"/>
                <a:gd name="f211" fmla="*/ 305 1 f141"/>
                <a:gd name="f212" fmla="*/ 142 1 f140"/>
                <a:gd name="f213" fmla="*/ 268 1 f141"/>
                <a:gd name="f214" fmla="*/ 102 1 f140"/>
                <a:gd name="f215" fmla="*/ 216 1 f141"/>
                <a:gd name="f216" fmla="*/ 75 1 f140"/>
                <a:gd name="f217" fmla="*/ 183 1 f141"/>
                <a:gd name="f218" fmla="*/ 42 1 f140"/>
                <a:gd name="f219" fmla="*/ 141 1 f141"/>
                <a:gd name="f220" fmla="*/ 0 1 f140"/>
                <a:gd name="f221" fmla="*/ 26 1 f140"/>
                <a:gd name="f222" fmla="*/ 70 1 f141"/>
                <a:gd name="f223" fmla="*/ 31 1 f140"/>
                <a:gd name="f224" fmla="*/ 51 1 f140"/>
                <a:gd name="f225" fmla="*/ 27 1 f141"/>
                <a:gd name="f226" fmla="*/ 8 1 f141"/>
                <a:gd name="f227" fmla="*/ 71 1 f140"/>
                <a:gd name="f228" fmla="*/ f6 1 f140"/>
                <a:gd name="f229" fmla="*/ 0 1 f141"/>
                <a:gd name="f230" fmla="*/ f7 1 f141"/>
                <a:gd name="f231" fmla="+- f142 0 f1"/>
                <a:gd name="f232" fmla="*/ f220 f135 1"/>
                <a:gd name="f233" fmla="*/ f228 f135 1"/>
                <a:gd name="f234" fmla="*/ f230 f136 1"/>
                <a:gd name="f235" fmla="*/ f229 f136 1"/>
                <a:gd name="f236" fmla="*/ f143 f135 1"/>
                <a:gd name="f237" fmla="*/ f144 f136 1"/>
                <a:gd name="f238" fmla="*/ f145 f135 1"/>
                <a:gd name="f239" fmla="*/ f146 f136 1"/>
                <a:gd name="f240" fmla="*/ f147 f135 1"/>
                <a:gd name="f241" fmla="*/ f148 f136 1"/>
                <a:gd name="f242" fmla="*/ f149 f135 1"/>
                <a:gd name="f243" fmla="*/ f150 f135 1"/>
                <a:gd name="f244" fmla="*/ f151 f136 1"/>
                <a:gd name="f245" fmla="*/ f152 f135 1"/>
                <a:gd name="f246" fmla="*/ f153 f136 1"/>
                <a:gd name="f247" fmla="*/ f154 f135 1"/>
                <a:gd name="f248" fmla="*/ f155 f136 1"/>
                <a:gd name="f249" fmla="*/ f156 f135 1"/>
                <a:gd name="f250" fmla="*/ f157 f136 1"/>
                <a:gd name="f251" fmla="*/ f158 f135 1"/>
                <a:gd name="f252" fmla="*/ f159 f135 1"/>
                <a:gd name="f253" fmla="*/ f160 f135 1"/>
                <a:gd name="f254" fmla="*/ f161 f136 1"/>
                <a:gd name="f255" fmla="*/ f162 f135 1"/>
                <a:gd name="f256" fmla="*/ f163 f136 1"/>
                <a:gd name="f257" fmla="*/ f164 f135 1"/>
                <a:gd name="f258" fmla="*/ f165 f136 1"/>
                <a:gd name="f259" fmla="*/ f166 f135 1"/>
                <a:gd name="f260" fmla="*/ f167 f135 1"/>
                <a:gd name="f261" fmla="*/ f168 f136 1"/>
                <a:gd name="f262" fmla="*/ f169 f135 1"/>
                <a:gd name="f263" fmla="*/ f170 f135 1"/>
                <a:gd name="f264" fmla="*/ f171 f136 1"/>
                <a:gd name="f265" fmla="*/ f172 f135 1"/>
                <a:gd name="f266" fmla="*/ f173 f136 1"/>
                <a:gd name="f267" fmla="*/ f174 f135 1"/>
                <a:gd name="f268" fmla="*/ f175 f136 1"/>
                <a:gd name="f269" fmla="*/ f176 f135 1"/>
                <a:gd name="f270" fmla="*/ f177 f136 1"/>
                <a:gd name="f271" fmla="*/ f178 f136 1"/>
                <a:gd name="f272" fmla="*/ f179 f136 1"/>
                <a:gd name="f273" fmla="*/ f180 f135 1"/>
                <a:gd name="f274" fmla="*/ f181 f136 1"/>
                <a:gd name="f275" fmla="*/ f182 f136 1"/>
                <a:gd name="f276" fmla="*/ f183 f135 1"/>
                <a:gd name="f277" fmla="*/ f184 f136 1"/>
                <a:gd name="f278" fmla="*/ f185 f135 1"/>
                <a:gd name="f279" fmla="*/ f186 f136 1"/>
                <a:gd name="f280" fmla="*/ f187 f135 1"/>
                <a:gd name="f281" fmla="*/ f188 f136 1"/>
                <a:gd name="f282" fmla="*/ f189 f135 1"/>
                <a:gd name="f283" fmla="*/ f190 f136 1"/>
                <a:gd name="f284" fmla="*/ f191 f136 1"/>
                <a:gd name="f285" fmla="*/ f192 f135 1"/>
                <a:gd name="f286" fmla="*/ f193 f136 1"/>
                <a:gd name="f287" fmla="*/ f194 f135 1"/>
                <a:gd name="f288" fmla="*/ f195 f136 1"/>
                <a:gd name="f289" fmla="*/ f196 f136 1"/>
                <a:gd name="f290" fmla="*/ f197 f135 1"/>
                <a:gd name="f291" fmla="*/ f198 f136 1"/>
                <a:gd name="f292" fmla="*/ f199 f135 1"/>
                <a:gd name="f293" fmla="*/ f200 f136 1"/>
                <a:gd name="f294" fmla="*/ f201 f135 1"/>
                <a:gd name="f295" fmla="*/ f202 f136 1"/>
                <a:gd name="f296" fmla="*/ f203 f135 1"/>
                <a:gd name="f297" fmla="*/ f204 f136 1"/>
                <a:gd name="f298" fmla="*/ f205 f135 1"/>
                <a:gd name="f299" fmla="*/ f206 f136 1"/>
                <a:gd name="f300" fmla="*/ f207 f135 1"/>
                <a:gd name="f301" fmla="*/ f208 f135 1"/>
                <a:gd name="f302" fmla="*/ f209 f136 1"/>
                <a:gd name="f303" fmla="*/ f210 f135 1"/>
                <a:gd name="f304" fmla="*/ f211 f136 1"/>
                <a:gd name="f305" fmla="*/ f212 f135 1"/>
                <a:gd name="f306" fmla="*/ f213 f136 1"/>
                <a:gd name="f307" fmla="*/ f214 f135 1"/>
                <a:gd name="f308" fmla="*/ f215 f136 1"/>
                <a:gd name="f309" fmla="*/ f216 f135 1"/>
                <a:gd name="f310" fmla="*/ f217 f136 1"/>
                <a:gd name="f311" fmla="*/ f218 f135 1"/>
                <a:gd name="f312" fmla="*/ f219 f136 1"/>
                <a:gd name="f313" fmla="*/ f221 f135 1"/>
                <a:gd name="f314" fmla="*/ f222 f136 1"/>
                <a:gd name="f315" fmla="*/ f223 f135 1"/>
                <a:gd name="f316" fmla="*/ f224 f135 1"/>
                <a:gd name="f317" fmla="*/ f225 f136 1"/>
                <a:gd name="f318" fmla="*/ f226 f136 1"/>
                <a:gd name="f319" fmla="*/ f227 f13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31">
                  <a:pos x="f236" y="f237"/>
                </a:cxn>
                <a:cxn ang="f231">
                  <a:pos x="f238" y="f239"/>
                </a:cxn>
                <a:cxn ang="f231">
                  <a:pos x="f240" y="f241"/>
                </a:cxn>
                <a:cxn ang="f231">
                  <a:pos x="f242" y="f241"/>
                </a:cxn>
                <a:cxn ang="f231">
                  <a:pos x="f243" y="f244"/>
                </a:cxn>
                <a:cxn ang="f231">
                  <a:pos x="f245" y="f246"/>
                </a:cxn>
                <a:cxn ang="f231">
                  <a:pos x="f247" y="f248"/>
                </a:cxn>
                <a:cxn ang="f231">
                  <a:pos x="f249" y="f250"/>
                </a:cxn>
                <a:cxn ang="f231">
                  <a:pos x="f251" y="f250"/>
                </a:cxn>
                <a:cxn ang="f231">
                  <a:pos x="f252" y="f248"/>
                </a:cxn>
                <a:cxn ang="f231">
                  <a:pos x="f253" y="f254"/>
                </a:cxn>
                <a:cxn ang="f231">
                  <a:pos x="f255" y="f256"/>
                </a:cxn>
                <a:cxn ang="f231">
                  <a:pos x="f257" y="f258"/>
                </a:cxn>
                <a:cxn ang="f231">
                  <a:pos x="f259" y="f258"/>
                </a:cxn>
                <a:cxn ang="f231">
                  <a:pos x="f260" y="f261"/>
                </a:cxn>
                <a:cxn ang="f231">
                  <a:pos x="f262" y="f261"/>
                </a:cxn>
                <a:cxn ang="f231">
                  <a:pos x="f263" y="f264"/>
                </a:cxn>
                <a:cxn ang="f231">
                  <a:pos x="f265" y="f266"/>
                </a:cxn>
                <a:cxn ang="f231">
                  <a:pos x="f267" y="f268"/>
                </a:cxn>
                <a:cxn ang="f231">
                  <a:pos x="f269" y="f250"/>
                </a:cxn>
                <a:cxn ang="f231">
                  <a:pos x="f257" y="f270"/>
                </a:cxn>
                <a:cxn ang="f231">
                  <a:pos x="f267" y="f271"/>
                </a:cxn>
                <a:cxn ang="f231">
                  <a:pos x="f267" y="f272"/>
                </a:cxn>
                <a:cxn ang="f231">
                  <a:pos x="f273" y="f274"/>
                </a:cxn>
                <a:cxn ang="f231">
                  <a:pos x="f265" y="f275"/>
                </a:cxn>
                <a:cxn ang="f231">
                  <a:pos x="f276" y="f277"/>
                </a:cxn>
                <a:cxn ang="f231">
                  <a:pos x="f278" y="f279"/>
                </a:cxn>
                <a:cxn ang="f231">
                  <a:pos x="f280" y="f281"/>
                </a:cxn>
                <a:cxn ang="f231">
                  <a:pos x="f282" y="f283"/>
                </a:cxn>
                <a:cxn ang="f231">
                  <a:pos x="f282" y="f284"/>
                </a:cxn>
                <a:cxn ang="f231">
                  <a:pos x="f285" y="f286"/>
                </a:cxn>
                <a:cxn ang="f231">
                  <a:pos x="f287" y="f288"/>
                </a:cxn>
                <a:cxn ang="f231">
                  <a:pos x="f280" y="f289"/>
                </a:cxn>
                <a:cxn ang="f231">
                  <a:pos x="f290" y="f291"/>
                </a:cxn>
                <a:cxn ang="f231">
                  <a:pos x="f292" y="f293"/>
                </a:cxn>
                <a:cxn ang="f231">
                  <a:pos x="f294" y="f295"/>
                </a:cxn>
                <a:cxn ang="f231">
                  <a:pos x="f296" y="f297"/>
                </a:cxn>
                <a:cxn ang="f231">
                  <a:pos x="f298" y="f299"/>
                </a:cxn>
                <a:cxn ang="f231">
                  <a:pos x="f300" y="f291"/>
                </a:cxn>
                <a:cxn ang="f231">
                  <a:pos x="f301" y="f302"/>
                </a:cxn>
                <a:cxn ang="f231">
                  <a:pos x="f303" y="f304"/>
                </a:cxn>
                <a:cxn ang="f231">
                  <a:pos x="f305" y="f306"/>
                </a:cxn>
                <a:cxn ang="f231">
                  <a:pos x="f307" y="f308"/>
                </a:cxn>
                <a:cxn ang="f231">
                  <a:pos x="f309" y="f310"/>
                </a:cxn>
                <a:cxn ang="f231">
                  <a:pos x="f311" y="f312"/>
                </a:cxn>
                <a:cxn ang="f231">
                  <a:pos x="f232" y="f250"/>
                </a:cxn>
                <a:cxn ang="f231">
                  <a:pos x="f313" y="f314"/>
                </a:cxn>
                <a:cxn ang="f231">
                  <a:pos x="f315" y="f241"/>
                </a:cxn>
                <a:cxn ang="f231">
                  <a:pos x="f316" y="f317"/>
                </a:cxn>
                <a:cxn ang="f231">
                  <a:pos x="f316" y="f318"/>
                </a:cxn>
                <a:cxn ang="f231">
                  <a:pos x="f319" y="f318"/>
                </a:cxn>
              </a:cxnLst>
              <a:rect l="f232" t="f235" r="f233" b="f234"/>
              <a:pathLst>
                <a:path w="400" h="379">
                  <a:moveTo>
                    <a:pt x="f8" y="f9"/>
                  </a:moveTo>
                  <a:lnTo>
                    <a:pt x="f10" y="f11"/>
                  </a:lnTo>
                  <a:lnTo>
                    <a:pt x="f10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18"/>
                  </a:lnTo>
                  <a:lnTo>
                    <a:pt x="f20" y="f18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3" y="f25"/>
                  </a:lnTo>
                  <a:lnTo>
                    <a:pt x="f26" y="f27"/>
                  </a:lnTo>
                  <a:lnTo>
                    <a:pt x="f28" y="f27"/>
                  </a:lnTo>
                  <a:lnTo>
                    <a:pt x="f29" y="f30"/>
                  </a:lnTo>
                  <a:lnTo>
                    <a:pt x="f31" y="f32"/>
                  </a:lnTo>
                  <a:lnTo>
                    <a:pt x="f33" y="f34"/>
                  </a:lnTo>
                  <a:lnTo>
                    <a:pt x="f35" y="f32"/>
                  </a:lnTo>
                  <a:lnTo>
                    <a:pt x="f36" y="f34"/>
                  </a:lnTo>
                  <a:lnTo>
                    <a:pt x="f37" y="f34"/>
                  </a:lnTo>
                  <a:lnTo>
                    <a:pt x="f38" y="f30"/>
                  </a:lnTo>
                  <a:lnTo>
                    <a:pt x="f39" y="f40"/>
                  </a:lnTo>
                  <a:lnTo>
                    <a:pt x="f41" y="f40"/>
                  </a:lnTo>
                  <a:lnTo>
                    <a:pt x="f42" y="f40"/>
                  </a:lnTo>
                  <a:lnTo>
                    <a:pt x="f43" y="f8"/>
                  </a:lnTo>
                  <a:lnTo>
                    <a:pt x="f44" y="f45"/>
                  </a:lnTo>
                  <a:lnTo>
                    <a:pt x="f46" y="f45"/>
                  </a:lnTo>
                  <a:lnTo>
                    <a:pt x="f47" y="f48"/>
                  </a:lnTo>
                  <a:lnTo>
                    <a:pt x="f49" y="f45"/>
                  </a:lnTo>
                  <a:lnTo>
                    <a:pt x="f50" y="f22"/>
                  </a:lnTo>
                  <a:lnTo>
                    <a:pt x="f51" y="f16"/>
                  </a:lnTo>
                  <a:lnTo>
                    <a:pt x="f52" y="f53"/>
                  </a:lnTo>
                  <a:lnTo>
                    <a:pt x="f54" y="f16"/>
                  </a:lnTo>
                  <a:lnTo>
                    <a:pt x="f55" y="f45"/>
                  </a:lnTo>
                  <a:lnTo>
                    <a:pt x="f56" y="f57"/>
                  </a:lnTo>
                  <a:lnTo>
                    <a:pt x="f58" y="f59"/>
                  </a:lnTo>
                  <a:lnTo>
                    <a:pt x="f60" y="f59"/>
                  </a:lnTo>
                  <a:lnTo>
                    <a:pt x="f61" y="f8"/>
                  </a:lnTo>
                  <a:lnTo>
                    <a:pt x="f62" y="f10"/>
                  </a:lnTo>
                  <a:lnTo>
                    <a:pt x="f62" y="f17"/>
                  </a:lnTo>
                  <a:lnTo>
                    <a:pt x="f63" y="f34"/>
                  </a:lnTo>
                  <a:lnTo>
                    <a:pt x="f64" y="f65"/>
                  </a:lnTo>
                  <a:lnTo>
                    <a:pt x="f46" y="f66"/>
                  </a:lnTo>
                  <a:lnTo>
                    <a:pt x="f67" y="f68"/>
                  </a:lnTo>
                  <a:lnTo>
                    <a:pt x="f62" y="f69"/>
                  </a:lnTo>
                  <a:lnTo>
                    <a:pt x="f62" y="f70"/>
                  </a:lnTo>
                  <a:lnTo>
                    <a:pt x="f62" y="f71"/>
                  </a:lnTo>
                  <a:lnTo>
                    <a:pt x="f64" y="f72"/>
                  </a:lnTo>
                  <a:lnTo>
                    <a:pt x="f64" y="f73"/>
                  </a:lnTo>
                  <a:lnTo>
                    <a:pt x="f63" y="f74"/>
                  </a:lnTo>
                  <a:lnTo>
                    <a:pt x="f60" y="f75"/>
                  </a:lnTo>
                  <a:lnTo>
                    <a:pt x="f52" y="f76"/>
                  </a:lnTo>
                  <a:lnTo>
                    <a:pt x="f77" y="f78"/>
                  </a:lnTo>
                  <a:lnTo>
                    <a:pt x="f79" y="f42"/>
                  </a:lnTo>
                  <a:lnTo>
                    <a:pt x="f80" y="f81"/>
                  </a:lnTo>
                  <a:lnTo>
                    <a:pt x="f82" y="f81"/>
                  </a:lnTo>
                  <a:lnTo>
                    <a:pt x="f7" y="f83"/>
                  </a:lnTo>
                  <a:lnTo>
                    <a:pt x="f84" y="f85"/>
                  </a:lnTo>
                  <a:lnTo>
                    <a:pt x="f86" y="f87"/>
                  </a:lnTo>
                  <a:lnTo>
                    <a:pt x="f6" y="f88"/>
                  </a:lnTo>
                  <a:lnTo>
                    <a:pt x="f86" y="f89"/>
                  </a:lnTo>
                  <a:lnTo>
                    <a:pt x="f86" y="f90"/>
                  </a:lnTo>
                  <a:lnTo>
                    <a:pt x="f91" y="f92"/>
                  </a:lnTo>
                  <a:lnTo>
                    <a:pt x="f93" y="f94"/>
                  </a:lnTo>
                  <a:lnTo>
                    <a:pt x="f95" y="f94"/>
                  </a:lnTo>
                  <a:lnTo>
                    <a:pt x="f7" y="f96"/>
                  </a:lnTo>
                  <a:lnTo>
                    <a:pt x="f7" y="f97"/>
                  </a:lnTo>
                  <a:lnTo>
                    <a:pt x="f98" y="f99"/>
                  </a:lnTo>
                  <a:lnTo>
                    <a:pt x="f100" y="f101"/>
                  </a:lnTo>
                  <a:lnTo>
                    <a:pt x="f102" y="f82"/>
                  </a:lnTo>
                  <a:lnTo>
                    <a:pt x="f102" y="f103"/>
                  </a:lnTo>
                  <a:lnTo>
                    <a:pt x="f104" y="f105"/>
                  </a:lnTo>
                  <a:lnTo>
                    <a:pt x="f106" y="f7"/>
                  </a:lnTo>
                  <a:lnTo>
                    <a:pt x="f107" y="f105"/>
                  </a:lnTo>
                  <a:lnTo>
                    <a:pt x="f108" y="f82"/>
                  </a:lnTo>
                  <a:lnTo>
                    <a:pt x="f55" y="f109"/>
                  </a:lnTo>
                  <a:lnTo>
                    <a:pt x="f110" y="f111"/>
                  </a:lnTo>
                  <a:lnTo>
                    <a:pt x="f61" y="f109"/>
                  </a:lnTo>
                  <a:lnTo>
                    <a:pt x="f112" y="f101"/>
                  </a:lnTo>
                  <a:lnTo>
                    <a:pt x="f42" y="f113"/>
                  </a:lnTo>
                  <a:lnTo>
                    <a:pt x="f114" y="f96"/>
                  </a:lnTo>
                  <a:lnTo>
                    <a:pt x="f41" y="f115"/>
                  </a:lnTo>
                  <a:lnTo>
                    <a:pt x="f73" y="f116"/>
                  </a:lnTo>
                  <a:lnTo>
                    <a:pt x="f117" y="f118"/>
                  </a:lnTo>
                  <a:lnTo>
                    <a:pt x="f119" y="f120"/>
                  </a:lnTo>
                  <a:lnTo>
                    <a:pt x="f121" y="f122"/>
                  </a:lnTo>
                  <a:lnTo>
                    <a:pt x="f123" y="f124"/>
                  </a:lnTo>
                  <a:lnTo>
                    <a:pt x="f30" y="f39"/>
                  </a:lnTo>
                  <a:lnTo>
                    <a:pt x="f27" y="f125"/>
                  </a:lnTo>
                  <a:lnTo>
                    <a:pt x="f24" y="f126"/>
                  </a:lnTo>
                  <a:lnTo>
                    <a:pt x="f18" y="f70"/>
                  </a:lnTo>
                  <a:lnTo>
                    <a:pt x="f127" y="f128"/>
                  </a:lnTo>
                  <a:lnTo>
                    <a:pt x="f5" y="f34"/>
                  </a:lnTo>
                  <a:lnTo>
                    <a:pt x="f129" y="f10"/>
                  </a:lnTo>
                  <a:lnTo>
                    <a:pt x="f127" y="f25"/>
                  </a:lnTo>
                  <a:lnTo>
                    <a:pt x="f14" y="f48"/>
                  </a:lnTo>
                  <a:lnTo>
                    <a:pt x="f14" y="f18"/>
                  </a:lnTo>
                  <a:lnTo>
                    <a:pt x="f18" y="f130"/>
                  </a:lnTo>
                  <a:lnTo>
                    <a:pt x="f45" y="f131"/>
                  </a:lnTo>
                  <a:lnTo>
                    <a:pt x="f48" y="f132"/>
                  </a:lnTo>
                  <a:lnTo>
                    <a:pt x="f45" y="f9"/>
                  </a:lnTo>
                  <a:lnTo>
                    <a:pt x="f133" y="f5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00B050"/>
            </a:solidFill>
            <a:ln w="6345" cap="flat">
              <a:solidFill>
                <a:srgbClr val="A6A6A6"/>
              </a:solidFill>
              <a:prstDash val="solid"/>
              <a:round/>
            </a:ln>
          </p:spPr>
          <p:txBody>
            <a:bodyPr vert="horz" wrap="square" lIns="68580" tIns="34290" rIns="68580" bIns="3429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290" rtl="0" fontAlgn="auto" hangingPunct="1">
                <a:lnSpc>
                  <a:spcPct val="100000"/>
                </a:lnSpc>
                <a:spcBef>
                  <a:spcPts val="50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000" b="0" i="0" u="none" strike="noStrike" kern="0" cap="none" spc="0" baseline="0">
                <a:solidFill>
                  <a:srgbClr val="133B9C"/>
                </a:solidFill>
                <a:highlight>
                  <a:srgbClr val="008556"/>
                </a:highlight>
                <a:uFillTx/>
                <a:latin typeface="Arial"/>
              </a:endParaRPr>
            </a:p>
          </p:txBody>
        </p:sp>
        <p:sp>
          <p:nvSpPr>
            <p:cNvPr id="48" name="Freeform 154">
              <a:extLst>
                <a:ext uri="{FF2B5EF4-FFF2-40B4-BE49-F238E27FC236}">
                  <a16:creationId xmlns:a16="http://schemas.microsoft.com/office/drawing/2014/main" id="{E16859EF-FF3F-2B34-1A72-3056A46A02E7}"/>
                </a:ext>
              </a:extLst>
            </p:cNvPr>
            <p:cNvSpPr/>
            <p:nvPr/>
          </p:nvSpPr>
          <p:spPr>
            <a:xfrm>
              <a:off x="5294412" y="2602098"/>
              <a:ext cx="543464" cy="397919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581"/>
                <a:gd name="f7" fmla="val 475"/>
                <a:gd name="f8" fmla="val 34"/>
                <a:gd name="f9" fmla="val 15"/>
                <a:gd name="f10" fmla="val 40"/>
                <a:gd name="f11" fmla="val 36"/>
                <a:gd name="f12" fmla="val 60"/>
                <a:gd name="f13" fmla="val 30"/>
                <a:gd name="f14" fmla="val 74"/>
                <a:gd name="f15" fmla="val 20"/>
                <a:gd name="f16" fmla="val 72"/>
                <a:gd name="f17" fmla="val 5"/>
                <a:gd name="f18" fmla="val 85"/>
                <a:gd name="f19" fmla="val 92"/>
                <a:gd name="f20" fmla="val 16"/>
                <a:gd name="f21" fmla="val 99"/>
                <a:gd name="f22" fmla="val 114"/>
                <a:gd name="f23" fmla="val 45"/>
                <a:gd name="f24" fmla="val 143"/>
                <a:gd name="f25" fmla="val 55"/>
                <a:gd name="f26" fmla="val 139"/>
                <a:gd name="f27" fmla="val 66"/>
                <a:gd name="f28" fmla="val 136"/>
                <a:gd name="f29" fmla="val 77"/>
                <a:gd name="f30" fmla="val 141"/>
                <a:gd name="f31" fmla="val 75"/>
                <a:gd name="f32" fmla="val 167"/>
                <a:gd name="f33" fmla="val 86"/>
                <a:gd name="f34" fmla="val 176"/>
                <a:gd name="f35" fmla="val 181"/>
                <a:gd name="f36" fmla="val 106"/>
                <a:gd name="f37" fmla="val 117"/>
                <a:gd name="f38" fmla="val 187"/>
                <a:gd name="f39" fmla="val 129"/>
                <a:gd name="f40" fmla="val 183"/>
                <a:gd name="f41" fmla="val 137"/>
                <a:gd name="f42" fmla="val 146"/>
                <a:gd name="f43" fmla="val 162"/>
                <a:gd name="f44" fmla="val 171"/>
                <a:gd name="f45" fmla="val 177"/>
                <a:gd name="f46" fmla="val 199"/>
                <a:gd name="f47" fmla="val 191"/>
                <a:gd name="f48" fmla="val 221"/>
                <a:gd name="f49" fmla="val 202"/>
                <a:gd name="f50" fmla="val 223"/>
                <a:gd name="f51" fmla="val 218"/>
                <a:gd name="f52" fmla="val 226"/>
                <a:gd name="f53" fmla="val 230"/>
                <a:gd name="f54" fmla="val 229"/>
                <a:gd name="f55" fmla="val 248"/>
                <a:gd name="f56" fmla="val 259"/>
                <a:gd name="f57" fmla="val 234"/>
                <a:gd name="f58" fmla="val 266"/>
                <a:gd name="f59" fmla="val 247"/>
                <a:gd name="f60" fmla="val 263"/>
                <a:gd name="f61" fmla="val 261"/>
                <a:gd name="f62" fmla="val 274"/>
                <a:gd name="f63" fmla="val 285"/>
                <a:gd name="f64" fmla="val 288"/>
                <a:gd name="f65" fmla="val 280"/>
                <a:gd name="f66" fmla="val 296"/>
                <a:gd name="f67" fmla="val 299"/>
                <a:gd name="f68" fmla="val 303"/>
                <a:gd name="f69" fmla="val 313"/>
                <a:gd name="f70" fmla="val 308"/>
                <a:gd name="f71" fmla="val 320"/>
                <a:gd name="f72" fmla="val 314"/>
                <a:gd name="f73" fmla="val 330"/>
                <a:gd name="f74" fmla="val 318"/>
                <a:gd name="f75" fmla="val 335"/>
                <a:gd name="f76" fmla="val 340"/>
                <a:gd name="f77" fmla="val 366"/>
                <a:gd name="f78" fmla="val 337"/>
                <a:gd name="f79" fmla="val 388"/>
                <a:gd name="f80" fmla="val 350"/>
                <a:gd name="f81" fmla="val 415"/>
                <a:gd name="f82" fmla="val 368"/>
                <a:gd name="f83" fmla="val 429"/>
                <a:gd name="f84" fmla="val 370"/>
                <a:gd name="f85" fmla="val 457"/>
                <a:gd name="f86" fmla="val 477"/>
                <a:gd name="f87" fmla="val 373"/>
                <a:gd name="f88" fmla="val 487"/>
                <a:gd name="f89" fmla="val 385"/>
                <a:gd name="f90" fmla="val 492"/>
                <a:gd name="f91" fmla="val 397"/>
                <a:gd name="f92" fmla="val 502"/>
                <a:gd name="f93" fmla="val 417"/>
                <a:gd name="f94" fmla="val 500"/>
                <a:gd name="f95" fmla="val 440"/>
                <a:gd name="f96" fmla="val 450"/>
                <a:gd name="f97" fmla="val 512"/>
                <a:gd name="f98" fmla="val 455"/>
                <a:gd name="f99" fmla="val 529"/>
                <a:gd name="f100" fmla="val 470"/>
                <a:gd name="f101" fmla="val 545"/>
                <a:gd name="f102" fmla="val 565"/>
                <a:gd name="f103" fmla="val 561"/>
                <a:gd name="f104" fmla="val 447"/>
                <a:gd name="f105" fmla="val 569"/>
                <a:gd name="f106" fmla="val 410"/>
                <a:gd name="f107" fmla="val 400"/>
                <a:gd name="f108" fmla="val 579"/>
                <a:gd name="f109" fmla="val 380"/>
                <a:gd name="f110" fmla="val 560"/>
                <a:gd name="f111" fmla="val 552"/>
                <a:gd name="f112" fmla="val 355"/>
                <a:gd name="f113" fmla="val 343"/>
                <a:gd name="f114" fmla="val 480"/>
                <a:gd name="f115" fmla="val 460"/>
                <a:gd name="f116" fmla="val 395"/>
                <a:gd name="f117" fmla="val 386"/>
                <a:gd name="f118" fmla="val 383"/>
                <a:gd name="f119" fmla="val 210"/>
                <a:gd name="f120" fmla="val 201"/>
                <a:gd name="f121" fmla="val 354"/>
                <a:gd name="f122" fmla="val 203"/>
                <a:gd name="f123" fmla="val 196"/>
                <a:gd name="f124" fmla="val 298"/>
                <a:gd name="f125" fmla="val 161"/>
                <a:gd name="f126" fmla="val 211"/>
                <a:gd name="f127" fmla="val 132"/>
                <a:gd name="f128" fmla="val 189"/>
                <a:gd name="f129" fmla="val 119"/>
                <a:gd name="f130" fmla="val 169"/>
                <a:gd name="f131" fmla="val 94"/>
                <a:gd name="f132" fmla="val 166"/>
                <a:gd name="f133" fmla="val 80"/>
                <a:gd name="f134" fmla="val 186"/>
                <a:gd name="f135" fmla="val 69"/>
                <a:gd name="f136" fmla="val 54"/>
                <a:gd name="f137" fmla="val 47"/>
                <a:gd name="f138" fmla="val 222"/>
                <a:gd name="f139" fmla="val 32"/>
                <a:gd name="f140" fmla="val 216"/>
                <a:gd name="f141" fmla="val 9"/>
                <a:gd name="f142" fmla="val 7"/>
                <a:gd name="f143" fmla="val 152"/>
                <a:gd name="f144" fmla="val 104"/>
                <a:gd name="f145" fmla="val 62"/>
                <a:gd name="f146" fmla="+- 0 0 -90"/>
                <a:gd name="f147" fmla="*/ f3 1 581"/>
                <a:gd name="f148" fmla="*/ f4 1 475"/>
                <a:gd name="f149" fmla="+- f7 0 f5"/>
                <a:gd name="f150" fmla="+- f6 0 f5"/>
                <a:gd name="f151" fmla="*/ f146 f0 1"/>
                <a:gd name="f152" fmla="*/ f150 1 581"/>
                <a:gd name="f153" fmla="*/ f149 1 475"/>
                <a:gd name="f154" fmla="*/ f151 1 f2"/>
                <a:gd name="f155" fmla="*/ 40 1 f152"/>
                <a:gd name="f156" fmla="*/ 36 1 f153"/>
                <a:gd name="f157" fmla="*/ 30 1 f152"/>
                <a:gd name="f158" fmla="*/ 74 1 f153"/>
                <a:gd name="f159" fmla="*/ 5 1 f152"/>
                <a:gd name="f160" fmla="*/ 72 1 f153"/>
                <a:gd name="f161" fmla="*/ 92 1 f153"/>
                <a:gd name="f162" fmla="*/ 20 1 f152"/>
                <a:gd name="f163" fmla="*/ 99 1 f153"/>
                <a:gd name="f164" fmla="*/ 45 1 f152"/>
                <a:gd name="f165" fmla="*/ 143 1 f153"/>
                <a:gd name="f166" fmla="*/ 66 1 f152"/>
                <a:gd name="f167" fmla="*/ 136 1 f153"/>
                <a:gd name="f168" fmla="*/ 75 1 f152"/>
                <a:gd name="f169" fmla="*/ 167 1 f153"/>
                <a:gd name="f170" fmla="*/ 99 1 f152"/>
                <a:gd name="f171" fmla="*/ 181 1 f153"/>
                <a:gd name="f172" fmla="*/ 117 1 f152"/>
                <a:gd name="f173" fmla="*/ 187 1 f153"/>
                <a:gd name="f174" fmla="*/ 137 1 f152"/>
                <a:gd name="f175" fmla="*/ 162 1 f152"/>
                <a:gd name="f176" fmla="*/ 176 1 f153"/>
                <a:gd name="f177" fmla="*/ 177 1 f152"/>
                <a:gd name="f178" fmla="*/ 199 1 f153"/>
                <a:gd name="f179" fmla="*/ 202 1 f152"/>
                <a:gd name="f180" fmla="*/ 223 1 f153"/>
                <a:gd name="f181" fmla="*/ 223 1 f152"/>
                <a:gd name="f182" fmla="*/ 230 1 f153"/>
                <a:gd name="f183" fmla="*/ 229 1 f152"/>
                <a:gd name="f184" fmla="*/ 259 1 f153"/>
                <a:gd name="f185" fmla="*/ 247 1 f152"/>
                <a:gd name="f186" fmla="*/ 263 1 f153"/>
                <a:gd name="f187" fmla="*/ 274 1 f152"/>
                <a:gd name="f188" fmla="*/ 288 1 f152"/>
                <a:gd name="f189" fmla="*/ 280 1 f153"/>
                <a:gd name="f190" fmla="*/ 303 1 f152"/>
                <a:gd name="f191" fmla="*/ 313 1 f153"/>
                <a:gd name="f192" fmla="*/ 314 1 f152"/>
                <a:gd name="f193" fmla="*/ 330 1 f153"/>
                <a:gd name="f194" fmla="*/ 330 1 f152"/>
                <a:gd name="f195" fmla="*/ 340 1 f153"/>
                <a:gd name="f196" fmla="*/ 388 1 f152"/>
                <a:gd name="f197" fmla="*/ 350 1 f153"/>
                <a:gd name="f198" fmla="*/ 429 1 f152"/>
                <a:gd name="f199" fmla="*/ 370 1 f153"/>
                <a:gd name="f200" fmla="*/ 477 1 f152"/>
                <a:gd name="f201" fmla="*/ 373 1 f153"/>
                <a:gd name="f202" fmla="*/ 492 1 f152"/>
                <a:gd name="f203" fmla="*/ 397 1 f153"/>
                <a:gd name="f204" fmla="*/ 500 1 f152"/>
                <a:gd name="f205" fmla="*/ 440 1 f153"/>
                <a:gd name="f206" fmla="*/ 512 1 f152"/>
                <a:gd name="f207" fmla="*/ 455 1 f153"/>
                <a:gd name="f208" fmla="*/ 545 1 f152"/>
                <a:gd name="f209" fmla="*/ 475 1 f153"/>
                <a:gd name="f210" fmla="*/ 561 1 f152"/>
                <a:gd name="f211" fmla="*/ 447 1 f153"/>
                <a:gd name="f212" fmla="*/ 581 1 f152"/>
                <a:gd name="f213" fmla="*/ 400 1 f153"/>
                <a:gd name="f214" fmla="*/ 569 1 f152"/>
                <a:gd name="f215" fmla="*/ 368 1 f153"/>
                <a:gd name="f216" fmla="*/ 552 1 f152"/>
                <a:gd name="f217" fmla="*/ 355 1 f153"/>
                <a:gd name="f218" fmla="*/ 480 1 f152"/>
                <a:gd name="f219" fmla="*/ 266 1 f153"/>
                <a:gd name="f220" fmla="*/ 248 1 f153"/>
                <a:gd name="f221" fmla="*/ 386 1 f152"/>
                <a:gd name="f222" fmla="*/ 226 1 f153"/>
                <a:gd name="f223" fmla="*/ 370 1 f152"/>
                <a:gd name="f224" fmla="*/ 201 1 f153"/>
                <a:gd name="f225" fmla="*/ 335 1 f152"/>
                <a:gd name="f226" fmla="*/ 196 1 f153"/>
                <a:gd name="f227" fmla="*/ 261 1 f152"/>
                <a:gd name="f228" fmla="*/ 161 1 f153"/>
                <a:gd name="f229" fmla="*/ 211 1 f152"/>
                <a:gd name="f230" fmla="*/ 132 1 f153"/>
                <a:gd name="f231" fmla="*/ 169 1 f152"/>
                <a:gd name="f232" fmla="*/ 94 1 f153"/>
                <a:gd name="f233" fmla="*/ 186 1 f152"/>
                <a:gd name="f234" fmla="*/ 80 1 f153"/>
                <a:gd name="f235" fmla="*/ 54 1 f153"/>
                <a:gd name="f236" fmla="*/ 222 1 f152"/>
                <a:gd name="f237" fmla="*/ 32 1 f153"/>
                <a:gd name="f238" fmla="*/ 9 1 f153"/>
                <a:gd name="f239" fmla="*/ 0 1 f153"/>
                <a:gd name="f240" fmla="*/ 152 1 f152"/>
                <a:gd name="f241" fmla="*/ 104 1 f152"/>
                <a:gd name="f242" fmla="*/ 5 1 f153"/>
                <a:gd name="f243" fmla="*/ 72 1 f152"/>
                <a:gd name="f244" fmla="*/ 34 1 f152"/>
                <a:gd name="f245" fmla="*/ 15 1 f153"/>
                <a:gd name="f246" fmla="*/ 0 1 f152"/>
                <a:gd name="f247" fmla="*/ f6 1 f152"/>
                <a:gd name="f248" fmla="*/ f7 1 f153"/>
                <a:gd name="f249" fmla="+- f154 0 f1"/>
                <a:gd name="f250" fmla="*/ f246 f147 1"/>
                <a:gd name="f251" fmla="*/ f247 f147 1"/>
                <a:gd name="f252" fmla="*/ f248 f148 1"/>
                <a:gd name="f253" fmla="*/ f239 f148 1"/>
                <a:gd name="f254" fmla="*/ f155 f147 1"/>
                <a:gd name="f255" fmla="*/ f156 f148 1"/>
                <a:gd name="f256" fmla="*/ f157 f147 1"/>
                <a:gd name="f257" fmla="*/ f158 f148 1"/>
                <a:gd name="f258" fmla="*/ f159 f147 1"/>
                <a:gd name="f259" fmla="*/ f160 f148 1"/>
                <a:gd name="f260" fmla="*/ f161 f148 1"/>
                <a:gd name="f261" fmla="*/ f162 f147 1"/>
                <a:gd name="f262" fmla="*/ f163 f148 1"/>
                <a:gd name="f263" fmla="*/ f164 f147 1"/>
                <a:gd name="f264" fmla="*/ f165 f148 1"/>
                <a:gd name="f265" fmla="*/ f166 f147 1"/>
                <a:gd name="f266" fmla="*/ f167 f148 1"/>
                <a:gd name="f267" fmla="*/ f168 f147 1"/>
                <a:gd name="f268" fmla="*/ f169 f148 1"/>
                <a:gd name="f269" fmla="*/ f170 f147 1"/>
                <a:gd name="f270" fmla="*/ f171 f148 1"/>
                <a:gd name="f271" fmla="*/ f172 f147 1"/>
                <a:gd name="f272" fmla="*/ f173 f148 1"/>
                <a:gd name="f273" fmla="*/ f174 f147 1"/>
                <a:gd name="f274" fmla="*/ f175 f147 1"/>
                <a:gd name="f275" fmla="*/ f176 f148 1"/>
                <a:gd name="f276" fmla="*/ f177 f147 1"/>
                <a:gd name="f277" fmla="*/ f178 f148 1"/>
                <a:gd name="f278" fmla="*/ f179 f147 1"/>
                <a:gd name="f279" fmla="*/ f180 f148 1"/>
                <a:gd name="f280" fmla="*/ f181 f147 1"/>
                <a:gd name="f281" fmla="*/ f182 f148 1"/>
                <a:gd name="f282" fmla="*/ f183 f147 1"/>
                <a:gd name="f283" fmla="*/ f184 f148 1"/>
                <a:gd name="f284" fmla="*/ f185 f147 1"/>
                <a:gd name="f285" fmla="*/ f186 f148 1"/>
                <a:gd name="f286" fmla="*/ f187 f147 1"/>
                <a:gd name="f287" fmla="*/ f188 f147 1"/>
                <a:gd name="f288" fmla="*/ f189 f148 1"/>
                <a:gd name="f289" fmla="*/ f190 f147 1"/>
                <a:gd name="f290" fmla="*/ f191 f148 1"/>
                <a:gd name="f291" fmla="*/ f192 f147 1"/>
                <a:gd name="f292" fmla="*/ f193 f148 1"/>
                <a:gd name="f293" fmla="*/ f194 f147 1"/>
                <a:gd name="f294" fmla="*/ f195 f148 1"/>
                <a:gd name="f295" fmla="*/ f196 f147 1"/>
                <a:gd name="f296" fmla="*/ f197 f148 1"/>
                <a:gd name="f297" fmla="*/ f198 f147 1"/>
                <a:gd name="f298" fmla="*/ f199 f148 1"/>
                <a:gd name="f299" fmla="*/ f200 f147 1"/>
                <a:gd name="f300" fmla="*/ f201 f148 1"/>
                <a:gd name="f301" fmla="*/ f202 f147 1"/>
                <a:gd name="f302" fmla="*/ f203 f148 1"/>
                <a:gd name="f303" fmla="*/ f204 f147 1"/>
                <a:gd name="f304" fmla="*/ f205 f148 1"/>
                <a:gd name="f305" fmla="*/ f206 f147 1"/>
                <a:gd name="f306" fmla="*/ f207 f148 1"/>
                <a:gd name="f307" fmla="*/ f208 f147 1"/>
                <a:gd name="f308" fmla="*/ f209 f148 1"/>
                <a:gd name="f309" fmla="*/ f210 f147 1"/>
                <a:gd name="f310" fmla="*/ f211 f148 1"/>
                <a:gd name="f311" fmla="*/ f212 f147 1"/>
                <a:gd name="f312" fmla="*/ f213 f148 1"/>
                <a:gd name="f313" fmla="*/ f214 f147 1"/>
                <a:gd name="f314" fmla="*/ f215 f148 1"/>
                <a:gd name="f315" fmla="*/ f216 f147 1"/>
                <a:gd name="f316" fmla="*/ f217 f148 1"/>
                <a:gd name="f317" fmla="*/ f218 f147 1"/>
                <a:gd name="f318" fmla="*/ f219 f148 1"/>
                <a:gd name="f319" fmla="*/ f220 f148 1"/>
                <a:gd name="f320" fmla="*/ f221 f147 1"/>
                <a:gd name="f321" fmla="*/ f222 f148 1"/>
                <a:gd name="f322" fmla="*/ f223 f147 1"/>
                <a:gd name="f323" fmla="*/ f224 f148 1"/>
                <a:gd name="f324" fmla="*/ f225 f147 1"/>
                <a:gd name="f325" fmla="*/ f226 f148 1"/>
                <a:gd name="f326" fmla="*/ f227 f147 1"/>
                <a:gd name="f327" fmla="*/ f228 f148 1"/>
                <a:gd name="f328" fmla="*/ f229 f147 1"/>
                <a:gd name="f329" fmla="*/ f230 f148 1"/>
                <a:gd name="f330" fmla="*/ f231 f147 1"/>
                <a:gd name="f331" fmla="*/ f232 f148 1"/>
                <a:gd name="f332" fmla="*/ f233 f147 1"/>
                <a:gd name="f333" fmla="*/ f234 f148 1"/>
                <a:gd name="f334" fmla="*/ f235 f148 1"/>
                <a:gd name="f335" fmla="*/ f236 f147 1"/>
                <a:gd name="f336" fmla="*/ f237 f148 1"/>
                <a:gd name="f337" fmla="*/ f238 f148 1"/>
                <a:gd name="f338" fmla="*/ f240 f147 1"/>
                <a:gd name="f339" fmla="*/ f241 f147 1"/>
                <a:gd name="f340" fmla="*/ f242 f148 1"/>
                <a:gd name="f341" fmla="*/ f243 f147 1"/>
                <a:gd name="f342" fmla="*/ f244 f147 1"/>
                <a:gd name="f343" fmla="*/ f245 f14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49">
                  <a:pos x="f254" y="f255"/>
                </a:cxn>
                <a:cxn ang="f249">
                  <a:pos x="f256" y="f257"/>
                </a:cxn>
                <a:cxn ang="f249">
                  <a:pos x="f258" y="f259"/>
                </a:cxn>
                <a:cxn ang="f249">
                  <a:pos x="f258" y="f260"/>
                </a:cxn>
                <a:cxn ang="f249">
                  <a:pos x="f261" y="f262"/>
                </a:cxn>
                <a:cxn ang="f249">
                  <a:pos x="f263" y="f264"/>
                </a:cxn>
                <a:cxn ang="f249">
                  <a:pos x="f265" y="f266"/>
                </a:cxn>
                <a:cxn ang="f249">
                  <a:pos x="f267" y="f268"/>
                </a:cxn>
                <a:cxn ang="f249">
                  <a:pos x="f269" y="f270"/>
                </a:cxn>
                <a:cxn ang="f249">
                  <a:pos x="f271" y="f272"/>
                </a:cxn>
                <a:cxn ang="f249">
                  <a:pos x="f273" y="f272"/>
                </a:cxn>
                <a:cxn ang="f249">
                  <a:pos x="f274" y="f275"/>
                </a:cxn>
                <a:cxn ang="f249">
                  <a:pos x="f276" y="f277"/>
                </a:cxn>
                <a:cxn ang="f249">
                  <a:pos x="f278" y="f279"/>
                </a:cxn>
                <a:cxn ang="f249">
                  <a:pos x="f280" y="f281"/>
                </a:cxn>
                <a:cxn ang="f249">
                  <a:pos x="f282" y="f283"/>
                </a:cxn>
                <a:cxn ang="f249">
                  <a:pos x="f284" y="f285"/>
                </a:cxn>
                <a:cxn ang="f249">
                  <a:pos x="f286" y="f283"/>
                </a:cxn>
                <a:cxn ang="f249">
                  <a:pos x="f287" y="f288"/>
                </a:cxn>
                <a:cxn ang="f249">
                  <a:pos x="f289" y="f290"/>
                </a:cxn>
                <a:cxn ang="f249">
                  <a:pos x="f291" y="f292"/>
                </a:cxn>
                <a:cxn ang="f249">
                  <a:pos x="f293" y="f294"/>
                </a:cxn>
                <a:cxn ang="f249">
                  <a:pos x="f295" y="f296"/>
                </a:cxn>
                <a:cxn ang="f249">
                  <a:pos x="f297" y="f298"/>
                </a:cxn>
                <a:cxn ang="f249">
                  <a:pos x="f299" y="f300"/>
                </a:cxn>
                <a:cxn ang="f249">
                  <a:pos x="f301" y="f302"/>
                </a:cxn>
                <a:cxn ang="f249">
                  <a:pos x="f303" y="f304"/>
                </a:cxn>
                <a:cxn ang="f249">
                  <a:pos x="f305" y="f306"/>
                </a:cxn>
                <a:cxn ang="f249">
                  <a:pos x="f307" y="f308"/>
                </a:cxn>
                <a:cxn ang="f249">
                  <a:pos x="f309" y="f310"/>
                </a:cxn>
                <a:cxn ang="f249">
                  <a:pos x="f311" y="f312"/>
                </a:cxn>
                <a:cxn ang="f249">
                  <a:pos x="f313" y="f314"/>
                </a:cxn>
                <a:cxn ang="f249">
                  <a:pos x="f315" y="f316"/>
                </a:cxn>
                <a:cxn ang="f249">
                  <a:pos x="f317" y="f318"/>
                </a:cxn>
                <a:cxn ang="f249">
                  <a:pos x="f297" y="f319"/>
                </a:cxn>
                <a:cxn ang="f249">
                  <a:pos x="f320" y="f321"/>
                </a:cxn>
                <a:cxn ang="f249">
                  <a:pos x="f322" y="f323"/>
                </a:cxn>
                <a:cxn ang="f249">
                  <a:pos x="f324" y="f325"/>
                </a:cxn>
                <a:cxn ang="f249">
                  <a:pos x="f326" y="f327"/>
                </a:cxn>
                <a:cxn ang="f249">
                  <a:pos x="f328" y="f329"/>
                </a:cxn>
                <a:cxn ang="f249">
                  <a:pos x="f330" y="f331"/>
                </a:cxn>
                <a:cxn ang="f249">
                  <a:pos x="f332" y="f333"/>
                </a:cxn>
                <a:cxn ang="f249">
                  <a:pos x="f278" y="f334"/>
                </a:cxn>
                <a:cxn ang="f249">
                  <a:pos x="f335" y="f336"/>
                </a:cxn>
                <a:cxn ang="f249">
                  <a:pos x="f278" y="f337"/>
                </a:cxn>
                <a:cxn ang="f249">
                  <a:pos x="f276" y="f253"/>
                </a:cxn>
                <a:cxn ang="f249">
                  <a:pos x="f338" y="f337"/>
                </a:cxn>
                <a:cxn ang="f249">
                  <a:pos x="f339" y="f340"/>
                </a:cxn>
                <a:cxn ang="f249">
                  <a:pos x="f341" y="f253"/>
                </a:cxn>
                <a:cxn ang="f249">
                  <a:pos x="f342" y="f343"/>
                </a:cxn>
              </a:cxnLst>
              <a:rect l="f250" t="f253" r="f251" b="f252"/>
              <a:pathLst>
                <a:path w="581" h="475">
                  <a:moveTo>
                    <a:pt x="f8" y="f9"/>
                  </a:moveTo>
                  <a:lnTo>
                    <a:pt x="f10" y="f11"/>
                  </a:lnTo>
                  <a:lnTo>
                    <a:pt x="f10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6"/>
                  </a:lnTo>
                  <a:lnTo>
                    <a:pt x="f5" y="f18"/>
                  </a:lnTo>
                  <a:lnTo>
                    <a:pt x="f17" y="f19"/>
                  </a:lnTo>
                  <a:lnTo>
                    <a:pt x="f20" y="f19"/>
                  </a:lnTo>
                  <a:lnTo>
                    <a:pt x="f15" y="f21"/>
                  </a:lnTo>
                  <a:lnTo>
                    <a:pt x="f15" y="f22"/>
                  </a:lnTo>
                  <a:lnTo>
                    <a:pt x="f23" y="f24"/>
                  </a:lnTo>
                  <a:lnTo>
                    <a:pt x="f25" y="f26"/>
                  </a:lnTo>
                  <a:lnTo>
                    <a:pt x="f27" y="f28"/>
                  </a:lnTo>
                  <a:lnTo>
                    <a:pt x="f29" y="f30"/>
                  </a:lnTo>
                  <a:lnTo>
                    <a:pt x="f31" y="f32"/>
                  </a:lnTo>
                  <a:lnTo>
                    <a:pt x="f33" y="f34"/>
                  </a:lnTo>
                  <a:lnTo>
                    <a:pt x="f21" y="f35"/>
                  </a:lnTo>
                  <a:lnTo>
                    <a:pt x="f36" y="f34"/>
                  </a:lnTo>
                  <a:lnTo>
                    <a:pt x="f37" y="f38"/>
                  </a:lnTo>
                  <a:lnTo>
                    <a:pt x="f39" y="f40"/>
                  </a:lnTo>
                  <a:lnTo>
                    <a:pt x="f41" y="f38"/>
                  </a:lnTo>
                  <a:lnTo>
                    <a:pt x="f42" y="f38"/>
                  </a:lnTo>
                  <a:lnTo>
                    <a:pt x="f43" y="f34"/>
                  </a:lnTo>
                  <a:lnTo>
                    <a:pt x="f44" y="f35"/>
                  </a:lnTo>
                  <a:lnTo>
                    <a:pt x="f45" y="f46"/>
                  </a:lnTo>
                  <a:lnTo>
                    <a:pt x="f47" y="f48"/>
                  </a:lnTo>
                  <a:lnTo>
                    <a:pt x="f49" y="f50"/>
                  </a:lnTo>
                  <a:lnTo>
                    <a:pt x="f51" y="f52"/>
                  </a:lnTo>
                  <a:lnTo>
                    <a:pt x="f50" y="f53"/>
                  </a:lnTo>
                  <a:lnTo>
                    <a:pt x="f54" y="f55"/>
                  </a:lnTo>
                  <a:lnTo>
                    <a:pt x="f54" y="f56"/>
                  </a:lnTo>
                  <a:lnTo>
                    <a:pt x="f57" y="f58"/>
                  </a:lnTo>
                  <a:lnTo>
                    <a:pt x="f59" y="f60"/>
                  </a:lnTo>
                  <a:lnTo>
                    <a:pt x="f61" y="f61"/>
                  </a:lnTo>
                  <a:lnTo>
                    <a:pt x="f62" y="f56"/>
                  </a:lnTo>
                  <a:lnTo>
                    <a:pt x="f63" y="f60"/>
                  </a:lnTo>
                  <a:lnTo>
                    <a:pt x="f64" y="f65"/>
                  </a:lnTo>
                  <a:lnTo>
                    <a:pt x="f66" y="f67"/>
                  </a:lnTo>
                  <a:lnTo>
                    <a:pt x="f68" y="f69"/>
                  </a:lnTo>
                  <a:lnTo>
                    <a:pt x="f70" y="f71"/>
                  </a:lnTo>
                  <a:lnTo>
                    <a:pt x="f72" y="f73"/>
                  </a:lnTo>
                  <a:lnTo>
                    <a:pt x="f74" y="f75"/>
                  </a:lnTo>
                  <a:lnTo>
                    <a:pt x="f73" y="f76"/>
                  </a:lnTo>
                  <a:lnTo>
                    <a:pt x="f77" y="f78"/>
                  </a:lnTo>
                  <a:lnTo>
                    <a:pt x="f79" y="f80"/>
                  </a:lnTo>
                  <a:lnTo>
                    <a:pt x="f81" y="f82"/>
                  </a:lnTo>
                  <a:lnTo>
                    <a:pt x="f83" y="f84"/>
                  </a:lnTo>
                  <a:lnTo>
                    <a:pt x="f85" y="f82"/>
                  </a:lnTo>
                  <a:lnTo>
                    <a:pt x="f86" y="f87"/>
                  </a:lnTo>
                  <a:lnTo>
                    <a:pt x="f88" y="f89"/>
                  </a:lnTo>
                  <a:lnTo>
                    <a:pt x="f90" y="f91"/>
                  </a:lnTo>
                  <a:lnTo>
                    <a:pt x="f92" y="f93"/>
                  </a:lnTo>
                  <a:lnTo>
                    <a:pt x="f94" y="f95"/>
                  </a:lnTo>
                  <a:lnTo>
                    <a:pt x="f94" y="f96"/>
                  </a:lnTo>
                  <a:lnTo>
                    <a:pt x="f97" y="f98"/>
                  </a:lnTo>
                  <a:lnTo>
                    <a:pt x="f99" y="f100"/>
                  </a:lnTo>
                  <a:lnTo>
                    <a:pt x="f101" y="f7"/>
                  </a:lnTo>
                  <a:lnTo>
                    <a:pt x="f102" y="f100"/>
                  </a:lnTo>
                  <a:lnTo>
                    <a:pt x="f103" y="f104"/>
                  </a:lnTo>
                  <a:lnTo>
                    <a:pt x="f105" y="f106"/>
                  </a:lnTo>
                  <a:lnTo>
                    <a:pt x="f6" y="f107"/>
                  </a:lnTo>
                  <a:lnTo>
                    <a:pt x="f108" y="f109"/>
                  </a:lnTo>
                  <a:lnTo>
                    <a:pt x="f105" y="f82"/>
                  </a:lnTo>
                  <a:lnTo>
                    <a:pt x="f110" y="f77"/>
                  </a:lnTo>
                  <a:lnTo>
                    <a:pt x="f111" y="f112"/>
                  </a:lnTo>
                  <a:lnTo>
                    <a:pt x="f111" y="f113"/>
                  </a:lnTo>
                  <a:lnTo>
                    <a:pt x="f114" y="f58"/>
                  </a:lnTo>
                  <a:lnTo>
                    <a:pt x="f115" y="f58"/>
                  </a:lnTo>
                  <a:lnTo>
                    <a:pt x="f83" y="f55"/>
                  </a:lnTo>
                  <a:lnTo>
                    <a:pt x="f116" y="f57"/>
                  </a:lnTo>
                  <a:lnTo>
                    <a:pt x="f117" y="f52"/>
                  </a:lnTo>
                  <a:lnTo>
                    <a:pt x="f118" y="f119"/>
                  </a:lnTo>
                  <a:lnTo>
                    <a:pt x="f84" y="f120"/>
                  </a:lnTo>
                  <a:lnTo>
                    <a:pt x="f121" y="f122"/>
                  </a:lnTo>
                  <a:lnTo>
                    <a:pt x="f75" y="f123"/>
                  </a:lnTo>
                  <a:lnTo>
                    <a:pt x="f124" y="f34"/>
                  </a:lnTo>
                  <a:lnTo>
                    <a:pt x="f61" y="f125"/>
                  </a:lnTo>
                  <a:lnTo>
                    <a:pt x="f57" y="f24"/>
                  </a:lnTo>
                  <a:lnTo>
                    <a:pt x="f126" y="f127"/>
                  </a:lnTo>
                  <a:lnTo>
                    <a:pt x="f128" y="f129"/>
                  </a:lnTo>
                  <a:lnTo>
                    <a:pt x="f130" y="f131"/>
                  </a:lnTo>
                  <a:lnTo>
                    <a:pt x="f132" y="f133"/>
                  </a:lnTo>
                  <a:lnTo>
                    <a:pt x="f134" y="f133"/>
                  </a:lnTo>
                  <a:lnTo>
                    <a:pt x="f49" y="f135"/>
                  </a:lnTo>
                  <a:lnTo>
                    <a:pt x="f49" y="f136"/>
                  </a:lnTo>
                  <a:lnTo>
                    <a:pt x="f126" y="f137"/>
                  </a:lnTo>
                  <a:lnTo>
                    <a:pt x="f138" y="f139"/>
                  </a:lnTo>
                  <a:lnTo>
                    <a:pt x="f140" y="f15"/>
                  </a:lnTo>
                  <a:lnTo>
                    <a:pt x="f49" y="f141"/>
                  </a:lnTo>
                  <a:lnTo>
                    <a:pt x="f128" y="f17"/>
                  </a:lnTo>
                  <a:lnTo>
                    <a:pt x="f45" y="f5"/>
                  </a:lnTo>
                  <a:lnTo>
                    <a:pt x="f43" y="f142"/>
                  </a:lnTo>
                  <a:lnTo>
                    <a:pt x="f143" y="f141"/>
                  </a:lnTo>
                  <a:lnTo>
                    <a:pt x="f39" y="f17"/>
                  </a:lnTo>
                  <a:lnTo>
                    <a:pt x="f144" y="f17"/>
                  </a:lnTo>
                  <a:lnTo>
                    <a:pt x="f33" y="f141"/>
                  </a:lnTo>
                  <a:lnTo>
                    <a:pt x="f16" y="f5"/>
                  </a:lnTo>
                  <a:lnTo>
                    <a:pt x="f145" y="f5"/>
                  </a:lnTo>
                  <a:lnTo>
                    <a:pt x="f8" y="f9"/>
                  </a:lnTo>
                  <a:close/>
                </a:path>
              </a:pathLst>
            </a:custGeom>
            <a:solidFill>
              <a:srgbClr val="D9D9D9"/>
            </a:solidFill>
            <a:ln w="6345" cap="flat">
              <a:solidFill>
                <a:srgbClr val="A6A6A6"/>
              </a:solidFill>
              <a:prstDash val="solid"/>
              <a:round/>
            </a:ln>
          </p:spPr>
          <p:txBody>
            <a:bodyPr vert="horz" wrap="square" lIns="68580" tIns="34290" rIns="68580" bIns="3429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290" rtl="0" fontAlgn="auto" hangingPunct="1">
                <a:lnSpc>
                  <a:spcPct val="100000"/>
                </a:lnSpc>
                <a:spcBef>
                  <a:spcPts val="50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000" b="0" i="0" u="none" strike="noStrike" kern="0" cap="none" spc="0" baseline="0">
                <a:solidFill>
                  <a:srgbClr val="133B9C"/>
                </a:solidFill>
                <a:highlight>
                  <a:srgbClr val="008556"/>
                </a:highlight>
                <a:uFillTx/>
                <a:latin typeface="Arial"/>
              </a:endParaRPr>
            </a:p>
          </p:txBody>
        </p:sp>
        <p:sp>
          <p:nvSpPr>
            <p:cNvPr id="49" name="Freeform 152">
              <a:extLst>
                <a:ext uri="{FF2B5EF4-FFF2-40B4-BE49-F238E27FC236}">
                  <a16:creationId xmlns:a16="http://schemas.microsoft.com/office/drawing/2014/main" id="{33EC9322-8360-CC0F-D96A-4ED000C5E13C}"/>
                </a:ext>
              </a:extLst>
            </p:cNvPr>
            <p:cNvSpPr/>
            <p:nvPr/>
          </p:nvSpPr>
          <p:spPr>
            <a:xfrm>
              <a:off x="5392637" y="2921901"/>
              <a:ext cx="233848" cy="413007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50"/>
                <a:gd name="f7" fmla="val 493"/>
                <a:gd name="f8" fmla="val 13"/>
                <a:gd name="f9" fmla="val 12"/>
                <a:gd name="f10" fmla="val 35"/>
                <a:gd name="f11" fmla="val 10"/>
                <a:gd name="f12" fmla="val 53"/>
                <a:gd name="f13" fmla="val 14"/>
                <a:gd name="f14" fmla="val 70"/>
                <a:gd name="f15" fmla="val 34"/>
                <a:gd name="f16" fmla="val 107"/>
                <a:gd name="f17" fmla="val 54"/>
                <a:gd name="f18" fmla="val 142"/>
                <a:gd name="f19" fmla="val 59"/>
                <a:gd name="f20" fmla="val 157"/>
                <a:gd name="f21" fmla="val 192"/>
                <a:gd name="f22" fmla="val 64"/>
                <a:gd name="f23" fmla="val 209"/>
                <a:gd name="f24" fmla="val 81"/>
                <a:gd name="f25" fmla="val 239"/>
                <a:gd name="f26" fmla="val 87"/>
                <a:gd name="f27" fmla="val 248"/>
                <a:gd name="f28" fmla="val 89"/>
                <a:gd name="f29" fmla="val 273"/>
                <a:gd name="f30" fmla="val 288"/>
                <a:gd name="f31" fmla="val 299"/>
                <a:gd name="f32" fmla="val 57"/>
                <a:gd name="f33" fmla="val 303"/>
                <a:gd name="f34" fmla="val 313"/>
                <a:gd name="f35" fmla="val 52"/>
                <a:gd name="f36" fmla="val 32"/>
                <a:gd name="f37" fmla="val 316"/>
                <a:gd name="f38" fmla="val 27"/>
                <a:gd name="f39" fmla="val 330"/>
                <a:gd name="f40" fmla="val 353"/>
                <a:gd name="f41" fmla="val 24"/>
                <a:gd name="f42" fmla="val 377"/>
                <a:gd name="f43" fmla="val 17"/>
                <a:gd name="f44" fmla="val 397"/>
                <a:gd name="f45" fmla="val 3"/>
                <a:gd name="f46" fmla="val 410"/>
                <a:gd name="f47" fmla="val 426"/>
                <a:gd name="f48" fmla="val 5"/>
                <a:gd name="f49" fmla="val 448"/>
                <a:gd name="f50" fmla="val 470"/>
                <a:gd name="f51" fmla="val 39"/>
                <a:gd name="f52" fmla="val 482"/>
                <a:gd name="f53" fmla="val 61"/>
                <a:gd name="f54" fmla="val 79"/>
                <a:gd name="f55" fmla="val 462"/>
                <a:gd name="f56" fmla="val 428"/>
                <a:gd name="f57" fmla="val 109"/>
                <a:gd name="f58" fmla="val 406"/>
                <a:gd name="f59" fmla="val 136"/>
                <a:gd name="f60" fmla="val 381"/>
                <a:gd name="f61" fmla="val 153"/>
                <a:gd name="f62" fmla="val 350"/>
                <a:gd name="f63" fmla="val 230"/>
                <a:gd name="f64" fmla="val 268"/>
                <a:gd name="f65" fmla="val 245"/>
                <a:gd name="f66" fmla="val 254"/>
                <a:gd name="f67" fmla="val 219"/>
                <a:gd name="f68" fmla="val 240"/>
                <a:gd name="f69" fmla="val 201"/>
                <a:gd name="f70" fmla="val 169"/>
                <a:gd name="f71" fmla="val 149"/>
                <a:gd name="f72" fmla="val 243"/>
                <a:gd name="f73" fmla="val 139"/>
                <a:gd name="f74" fmla="val 220"/>
                <a:gd name="f75" fmla="val 132"/>
                <a:gd name="f76" fmla="val 183"/>
                <a:gd name="f77" fmla="val 99"/>
                <a:gd name="f78" fmla="val 156"/>
                <a:gd name="f79" fmla="val 146"/>
                <a:gd name="f80" fmla="val 73"/>
                <a:gd name="f81" fmla="val 63"/>
                <a:gd name="f82" fmla="val 166"/>
                <a:gd name="f83" fmla="val 50"/>
                <a:gd name="f84" fmla="val 160"/>
                <a:gd name="f85" fmla="val 126"/>
                <a:gd name="f86" fmla="val 106"/>
                <a:gd name="f87" fmla="val 40"/>
                <a:gd name="f88" fmla="val 92"/>
                <a:gd name="f89" fmla="val 84"/>
                <a:gd name="f90" fmla="val 47"/>
                <a:gd name="f91" fmla="val 25"/>
                <a:gd name="f92" fmla="val 33"/>
                <a:gd name="f93" fmla="val 16"/>
                <a:gd name="f94" fmla="+- 0 0 -90"/>
                <a:gd name="f95" fmla="*/ f3 1 250"/>
                <a:gd name="f96" fmla="*/ f4 1 493"/>
                <a:gd name="f97" fmla="+- f7 0 f5"/>
                <a:gd name="f98" fmla="+- f6 0 f5"/>
                <a:gd name="f99" fmla="*/ f94 f0 1"/>
                <a:gd name="f100" fmla="*/ f98 1 250"/>
                <a:gd name="f101" fmla="*/ f97 1 493"/>
                <a:gd name="f102" fmla="*/ f99 1 f2"/>
                <a:gd name="f103" fmla="*/ 0 1 f100"/>
                <a:gd name="f104" fmla="*/ 13 1 f101"/>
                <a:gd name="f105" fmla="*/ 12 1 f100"/>
                <a:gd name="f106" fmla="*/ 35 1 f101"/>
                <a:gd name="f107" fmla="*/ 10 1 f100"/>
                <a:gd name="f108" fmla="*/ 53 1 f101"/>
                <a:gd name="f109" fmla="*/ 14 1 f100"/>
                <a:gd name="f110" fmla="*/ 70 1 f101"/>
                <a:gd name="f111" fmla="*/ 34 1 f100"/>
                <a:gd name="f112" fmla="*/ 107 1 f101"/>
                <a:gd name="f113" fmla="*/ 54 1 f100"/>
                <a:gd name="f114" fmla="*/ 142 1 f101"/>
                <a:gd name="f115" fmla="*/ 59 1 f100"/>
                <a:gd name="f116" fmla="*/ 157 1 f101"/>
                <a:gd name="f117" fmla="*/ 192 1 f101"/>
                <a:gd name="f118" fmla="*/ 64 1 f100"/>
                <a:gd name="f119" fmla="*/ 209 1 f101"/>
                <a:gd name="f120" fmla="*/ 81 1 f100"/>
                <a:gd name="f121" fmla="*/ 239 1 f101"/>
                <a:gd name="f122" fmla="*/ 87 1 f100"/>
                <a:gd name="f123" fmla="*/ 248 1 f101"/>
                <a:gd name="f124" fmla="*/ 89 1 f100"/>
                <a:gd name="f125" fmla="*/ 273 1 f101"/>
                <a:gd name="f126" fmla="*/ 288 1 f101"/>
                <a:gd name="f127" fmla="*/ 299 1 f101"/>
                <a:gd name="f128" fmla="*/ 57 1 f100"/>
                <a:gd name="f129" fmla="*/ 303 1 f101"/>
                <a:gd name="f130" fmla="*/ 313 1 f101"/>
                <a:gd name="f131" fmla="*/ 52 1 f100"/>
                <a:gd name="f132" fmla="*/ 32 1 f100"/>
                <a:gd name="f133" fmla="*/ 316 1 f101"/>
                <a:gd name="f134" fmla="*/ 27 1 f100"/>
                <a:gd name="f135" fmla="*/ 330 1 f101"/>
                <a:gd name="f136" fmla="*/ 353 1 f101"/>
                <a:gd name="f137" fmla="*/ 24 1 f100"/>
                <a:gd name="f138" fmla="*/ 377 1 f101"/>
                <a:gd name="f139" fmla="*/ 17 1 f100"/>
                <a:gd name="f140" fmla="*/ 397 1 f101"/>
                <a:gd name="f141" fmla="*/ 3 1 f100"/>
                <a:gd name="f142" fmla="*/ 410 1 f101"/>
                <a:gd name="f143" fmla="*/ 426 1 f101"/>
                <a:gd name="f144" fmla="*/ 5 1 f100"/>
                <a:gd name="f145" fmla="*/ 448 1 f101"/>
                <a:gd name="f146" fmla="*/ 470 1 f101"/>
                <a:gd name="f147" fmla="*/ 493 1 f101"/>
                <a:gd name="f148" fmla="*/ 39 1 f100"/>
                <a:gd name="f149" fmla="*/ 482 1 f101"/>
                <a:gd name="f150" fmla="*/ 61 1 f100"/>
                <a:gd name="f151" fmla="*/ 79 1 f100"/>
                <a:gd name="f152" fmla="*/ 462 1 f101"/>
                <a:gd name="f153" fmla="*/ 428 1 f101"/>
                <a:gd name="f154" fmla="*/ 109 1 f100"/>
                <a:gd name="f155" fmla="*/ 406 1 f101"/>
                <a:gd name="f156" fmla="*/ 136 1 f100"/>
                <a:gd name="f157" fmla="*/ 381 1 f101"/>
                <a:gd name="f158" fmla="*/ 153 1 f100"/>
                <a:gd name="f159" fmla="*/ 350 1 f101"/>
                <a:gd name="f160" fmla="*/ 209 1 f100"/>
                <a:gd name="f161" fmla="*/ 230 1 f100"/>
                <a:gd name="f162" fmla="*/ 268 1 f101"/>
                <a:gd name="f163" fmla="*/ 245 1 f100"/>
                <a:gd name="f164" fmla="*/ 254 1 f101"/>
                <a:gd name="f165" fmla="*/ 248 1 f100"/>
                <a:gd name="f166" fmla="*/ 219 1 f101"/>
                <a:gd name="f167" fmla="*/ 240 1 f100"/>
                <a:gd name="f168" fmla="*/ 201 1 f101"/>
                <a:gd name="f169" fmla="*/ 250 1 f100"/>
                <a:gd name="f170" fmla="*/ 169 1 f101"/>
                <a:gd name="f171" fmla="*/ 149 1 f101"/>
                <a:gd name="f172" fmla="*/ 243 1 f100"/>
                <a:gd name="f173" fmla="*/ 139 1 f101"/>
                <a:gd name="f174" fmla="*/ 220 1 f100"/>
                <a:gd name="f175" fmla="*/ 132 1 f101"/>
                <a:gd name="f176" fmla="*/ 183 1 f100"/>
                <a:gd name="f177" fmla="*/ 99 1 f101"/>
                <a:gd name="f178" fmla="*/ 156 1 f100"/>
                <a:gd name="f179" fmla="*/ 146 1 f100"/>
                <a:gd name="f180" fmla="*/ 73 1 f101"/>
                <a:gd name="f181" fmla="*/ 63 1 f101"/>
                <a:gd name="f182" fmla="*/ 166 1 f100"/>
                <a:gd name="f183" fmla="*/ 50 1 f101"/>
                <a:gd name="f184" fmla="*/ 27 1 f101"/>
                <a:gd name="f185" fmla="*/ 160 1 f100"/>
                <a:gd name="f186" fmla="*/ 3 1 f101"/>
                <a:gd name="f187" fmla="*/ 0 1 f101"/>
                <a:gd name="f188" fmla="*/ 126 1 f100"/>
                <a:gd name="f189" fmla="*/ 106 1 f100"/>
                <a:gd name="f190" fmla="*/ 40 1 f101"/>
                <a:gd name="f191" fmla="*/ 92 1 f100"/>
                <a:gd name="f192" fmla="*/ 84 1 f100"/>
                <a:gd name="f193" fmla="*/ 47 1 f101"/>
                <a:gd name="f194" fmla="*/ 25 1 f101"/>
                <a:gd name="f195" fmla="*/ 33 1 f101"/>
                <a:gd name="f196" fmla="*/ 25 1 f100"/>
                <a:gd name="f197" fmla="*/ 16 1 f101"/>
                <a:gd name="f198" fmla="*/ f6 1 f100"/>
                <a:gd name="f199" fmla="*/ f7 1 f101"/>
                <a:gd name="f200" fmla="+- f102 0 f1"/>
                <a:gd name="f201" fmla="*/ f103 f95 1"/>
                <a:gd name="f202" fmla="*/ f198 f95 1"/>
                <a:gd name="f203" fmla="*/ f199 f96 1"/>
                <a:gd name="f204" fmla="*/ f187 f96 1"/>
                <a:gd name="f205" fmla="*/ f104 f96 1"/>
                <a:gd name="f206" fmla="*/ f105 f95 1"/>
                <a:gd name="f207" fmla="*/ f106 f96 1"/>
                <a:gd name="f208" fmla="*/ f107 f95 1"/>
                <a:gd name="f209" fmla="*/ f108 f96 1"/>
                <a:gd name="f210" fmla="*/ f109 f95 1"/>
                <a:gd name="f211" fmla="*/ f110 f96 1"/>
                <a:gd name="f212" fmla="*/ f111 f95 1"/>
                <a:gd name="f213" fmla="*/ f112 f96 1"/>
                <a:gd name="f214" fmla="*/ f113 f95 1"/>
                <a:gd name="f215" fmla="*/ f114 f96 1"/>
                <a:gd name="f216" fmla="*/ f115 f95 1"/>
                <a:gd name="f217" fmla="*/ f116 f96 1"/>
                <a:gd name="f218" fmla="*/ f117 f96 1"/>
                <a:gd name="f219" fmla="*/ f118 f95 1"/>
                <a:gd name="f220" fmla="*/ f119 f96 1"/>
                <a:gd name="f221" fmla="*/ f120 f95 1"/>
                <a:gd name="f222" fmla="*/ f121 f96 1"/>
                <a:gd name="f223" fmla="*/ f122 f95 1"/>
                <a:gd name="f224" fmla="*/ f123 f96 1"/>
                <a:gd name="f225" fmla="*/ f124 f95 1"/>
                <a:gd name="f226" fmla="*/ f125 f96 1"/>
                <a:gd name="f227" fmla="*/ f126 f96 1"/>
                <a:gd name="f228" fmla="*/ f127 f96 1"/>
                <a:gd name="f229" fmla="*/ f128 f95 1"/>
                <a:gd name="f230" fmla="*/ f129 f96 1"/>
                <a:gd name="f231" fmla="*/ f130 f96 1"/>
                <a:gd name="f232" fmla="*/ f131 f95 1"/>
                <a:gd name="f233" fmla="*/ f132 f95 1"/>
                <a:gd name="f234" fmla="*/ f133 f96 1"/>
                <a:gd name="f235" fmla="*/ f134 f95 1"/>
                <a:gd name="f236" fmla="*/ f135 f96 1"/>
                <a:gd name="f237" fmla="*/ f136 f96 1"/>
                <a:gd name="f238" fmla="*/ f137 f95 1"/>
                <a:gd name="f239" fmla="*/ f138 f96 1"/>
                <a:gd name="f240" fmla="*/ f139 f95 1"/>
                <a:gd name="f241" fmla="*/ f140 f96 1"/>
                <a:gd name="f242" fmla="*/ f141 f95 1"/>
                <a:gd name="f243" fmla="*/ f142 f96 1"/>
                <a:gd name="f244" fmla="*/ f143 f96 1"/>
                <a:gd name="f245" fmla="*/ f144 f95 1"/>
                <a:gd name="f246" fmla="*/ f145 f96 1"/>
                <a:gd name="f247" fmla="*/ f146 f96 1"/>
                <a:gd name="f248" fmla="*/ f147 f96 1"/>
                <a:gd name="f249" fmla="*/ f148 f95 1"/>
                <a:gd name="f250" fmla="*/ f149 f96 1"/>
                <a:gd name="f251" fmla="*/ f150 f95 1"/>
                <a:gd name="f252" fmla="*/ f151 f95 1"/>
                <a:gd name="f253" fmla="*/ f152 f96 1"/>
                <a:gd name="f254" fmla="*/ f153 f96 1"/>
                <a:gd name="f255" fmla="*/ f154 f95 1"/>
                <a:gd name="f256" fmla="*/ f155 f96 1"/>
                <a:gd name="f257" fmla="*/ f156 f95 1"/>
                <a:gd name="f258" fmla="*/ f157 f96 1"/>
                <a:gd name="f259" fmla="*/ f158 f95 1"/>
                <a:gd name="f260" fmla="*/ f159 f96 1"/>
                <a:gd name="f261" fmla="*/ f160 f95 1"/>
                <a:gd name="f262" fmla="*/ f161 f95 1"/>
                <a:gd name="f263" fmla="*/ f162 f96 1"/>
                <a:gd name="f264" fmla="*/ f163 f95 1"/>
                <a:gd name="f265" fmla="*/ f164 f96 1"/>
                <a:gd name="f266" fmla="*/ f165 f95 1"/>
                <a:gd name="f267" fmla="*/ f166 f96 1"/>
                <a:gd name="f268" fmla="*/ f167 f95 1"/>
                <a:gd name="f269" fmla="*/ f168 f96 1"/>
                <a:gd name="f270" fmla="*/ f169 f95 1"/>
                <a:gd name="f271" fmla="*/ f170 f96 1"/>
                <a:gd name="f272" fmla="*/ f171 f96 1"/>
                <a:gd name="f273" fmla="*/ f172 f95 1"/>
                <a:gd name="f274" fmla="*/ f173 f96 1"/>
                <a:gd name="f275" fmla="*/ f174 f95 1"/>
                <a:gd name="f276" fmla="*/ f175 f96 1"/>
                <a:gd name="f277" fmla="*/ f176 f95 1"/>
                <a:gd name="f278" fmla="*/ f177 f96 1"/>
                <a:gd name="f279" fmla="*/ f178 f95 1"/>
                <a:gd name="f280" fmla="*/ f179 f95 1"/>
                <a:gd name="f281" fmla="*/ f180 f96 1"/>
                <a:gd name="f282" fmla="*/ f181 f96 1"/>
                <a:gd name="f283" fmla="*/ f182 f95 1"/>
                <a:gd name="f284" fmla="*/ f183 f96 1"/>
                <a:gd name="f285" fmla="*/ f184 f96 1"/>
                <a:gd name="f286" fmla="*/ f185 f95 1"/>
                <a:gd name="f287" fmla="*/ f186 f96 1"/>
                <a:gd name="f288" fmla="*/ f188 f95 1"/>
                <a:gd name="f289" fmla="*/ f189 f95 1"/>
                <a:gd name="f290" fmla="*/ f190 f96 1"/>
                <a:gd name="f291" fmla="*/ f191 f95 1"/>
                <a:gd name="f292" fmla="*/ f192 f95 1"/>
                <a:gd name="f293" fmla="*/ f193 f96 1"/>
                <a:gd name="f294" fmla="*/ f194 f96 1"/>
                <a:gd name="f295" fmla="*/ f195 f96 1"/>
                <a:gd name="f296" fmla="*/ f196 f95 1"/>
                <a:gd name="f297" fmla="*/ f197 f9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00">
                  <a:pos x="f201" y="f205"/>
                </a:cxn>
                <a:cxn ang="f200">
                  <a:pos x="f206" y="f207"/>
                </a:cxn>
                <a:cxn ang="f200">
                  <a:pos x="f208" y="f209"/>
                </a:cxn>
                <a:cxn ang="f200">
                  <a:pos x="f210" y="f211"/>
                </a:cxn>
                <a:cxn ang="f200">
                  <a:pos x="f212" y="f213"/>
                </a:cxn>
                <a:cxn ang="f200">
                  <a:pos x="f214" y="f215"/>
                </a:cxn>
                <a:cxn ang="f200">
                  <a:pos x="f216" y="f217"/>
                </a:cxn>
                <a:cxn ang="f200">
                  <a:pos x="f216" y="f218"/>
                </a:cxn>
                <a:cxn ang="f200">
                  <a:pos x="f219" y="f220"/>
                </a:cxn>
                <a:cxn ang="f200">
                  <a:pos x="f221" y="f222"/>
                </a:cxn>
                <a:cxn ang="f200">
                  <a:pos x="f223" y="f224"/>
                </a:cxn>
                <a:cxn ang="f200">
                  <a:pos x="f225" y="f226"/>
                </a:cxn>
                <a:cxn ang="f200">
                  <a:pos x="f223" y="f227"/>
                </a:cxn>
                <a:cxn ang="f200">
                  <a:pos x="f219" y="f228"/>
                </a:cxn>
                <a:cxn ang="f200">
                  <a:pos x="f229" y="f230"/>
                </a:cxn>
                <a:cxn ang="f200">
                  <a:pos x="f229" y="f231"/>
                </a:cxn>
                <a:cxn ang="f200">
                  <a:pos x="f232" y="f231"/>
                </a:cxn>
                <a:cxn ang="f200">
                  <a:pos x="f233" y="f234"/>
                </a:cxn>
                <a:cxn ang="f200">
                  <a:pos x="f235" y="f236"/>
                </a:cxn>
                <a:cxn ang="f200">
                  <a:pos x="f233" y="f237"/>
                </a:cxn>
                <a:cxn ang="f200">
                  <a:pos x="f238" y="f239"/>
                </a:cxn>
                <a:cxn ang="f200">
                  <a:pos x="f240" y="f241"/>
                </a:cxn>
                <a:cxn ang="f200">
                  <a:pos x="f242" y="f243"/>
                </a:cxn>
                <a:cxn ang="f200">
                  <a:pos x="f201" y="f244"/>
                </a:cxn>
                <a:cxn ang="f200">
                  <a:pos x="f245" y="f246"/>
                </a:cxn>
                <a:cxn ang="f200">
                  <a:pos x="f201" y="f247"/>
                </a:cxn>
                <a:cxn ang="f200">
                  <a:pos x="f240" y="f248"/>
                </a:cxn>
                <a:cxn ang="f200">
                  <a:pos x="f249" y="f250"/>
                </a:cxn>
                <a:cxn ang="f200">
                  <a:pos x="f251" y="f250"/>
                </a:cxn>
                <a:cxn ang="f200">
                  <a:pos x="f252" y="f253"/>
                </a:cxn>
                <a:cxn ang="f200">
                  <a:pos x="f221" y="f254"/>
                </a:cxn>
                <a:cxn ang="f200">
                  <a:pos x="f255" y="f256"/>
                </a:cxn>
                <a:cxn ang="f200">
                  <a:pos x="f257" y="f258"/>
                </a:cxn>
                <a:cxn ang="f200">
                  <a:pos x="f259" y="f260"/>
                </a:cxn>
                <a:cxn ang="f200">
                  <a:pos x="f259" y="f231"/>
                </a:cxn>
                <a:cxn ang="f200">
                  <a:pos x="f261" y="f226"/>
                </a:cxn>
                <a:cxn ang="f200">
                  <a:pos x="f262" y="f263"/>
                </a:cxn>
                <a:cxn ang="f200">
                  <a:pos x="f264" y="f265"/>
                </a:cxn>
                <a:cxn ang="f200">
                  <a:pos x="f266" y="f267"/>
                </a:cxn>
                <a:cxn ang="f200">
                  <a:pos x="f268" y="f269"/>
                </a:cxn>
                <a:cxn ang="f200">
                  <a:pos x="f270" y="f271"/>
                </a:cxn>
                <a:cxn ang="f200">
                  <a:pos x="f270" y="f272"/>
                </a:cxn>
                <a:cxn ang="f200">
                  <a:pos x="f273" y="f274"/>
                </a:cxn>
                <a:cxn ang="f200">
                  <a:pos x="f275" y="f276"/>
                </a:cxn>
                <a:cxn ang="f200">
                  <a:pos x="f277" y="f278"/>
                </a:cxn>
                <a:cxn ang="f200">
                  <a:pos x="f279" y="f278"/>
                </a:cxn>
                <a:cxn ang="f200">
                  <a:pos x="f280" y="f281"/>
                </a:cxn>
                <a:cxn ang="f200">
                  <a:pos x="f279" y="f282"/>
                </a:cxn>
                <a:cxn ang="f200">
                  <a:pos x="f283" y="f284"/>
                </a:cxn>
                <a:cxn ang="f200">
                  <a:pos x="f283" y="f285"/>
                </a:cxn>
                <a:cxn ang="f200">
                  <a:pos x="f286" y="f287"/>
                </a:cxn>
                <a:cxn ang="f200">
                  <a:pos x="f257" y="f204"/>
                </a:cxn>
                <a:cxn ang="f200">
                  <a:pos x="f288" y="f207"/>
                </a:cxn>
                <a:cxn ang="f200">
                  <a:pos x="f289" y="f290"/>
                </a:cxn>
                <a:cxn ang="f200">
                  <a:pos x="f291" y="f290"/>
                </a:cxn>
                <a:cxn ang="f200">
                  <a:pos x="f292" y="f293"/>
                </a:cxn>
                <a:cxn ang="f200">
                  <a:pos x="f214" y="f294"/>
                </a:cxn>
                <a:cxn ang="f200">
                  <a:pos x="f249" y="f295"/>
                </a:cxn>
                <a:cxn ang="f200">
                  <a:pos x="f296" y="f295"/>
                </a:cxn>
                <a:cxn ang="f200">
                  <a:pos x="f206" y="f297"/>
                </a:cxn>
                <a:cxn ang="f200">
                  <a:pos x="f201" y="f205"/>
                </a:cxn>
              </a:cxnLst>
              <a:rect l="f201" t="f204" r="f202" b="f203"/>
              <a:pathLst>
                <a:path w="250" h="493">
                  <a:moveTo>
                    <a:pt x="f5" y="f8"/>
                  </a:move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19" y="f21"/>
                  </a:lnTo>
                  <a:lnTo>
                    <a:pt x="f22" y="f23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28" y="f29"/>
                  </a:lnTo>
                  <a:lnTo>
                    <a:pt x="f26" y="f30"/>
                  </a:lnTo>
                  <a:lnTo>
                    <a:pt x="f22" y="f31"/>
                  </a:lnTo>
                  <a:lnTo>
                    <a:pt x="f32" y="f33"/>
                  </a:lnTo>
                  <a:lnTo>
                    <a:pt x="f32" y="f34"/>
                  </a:lnTo>
                  <a:lnTo>
                    <a:pt x="f35" y="f34"/>
                  </a:lnTo>
                  <a:lnTo>
                    <a:pt x="f36" y="f37"/>
                  </a:lnTo>
                  <a:lnTo>
                    <a:pt x="f38" y="f39"/>
                  </a:lnTo>
                  <a:lnTo>
                    <a:pt x="f36" y="f40"/>
                  </a:lnTo>
                  <a:lnTo>
                    <a:pt x="f41" y="f42"/>
                  </a:lnTo>
                  <a:lnTo>
                    <a:pt x="f43" y="f44"/>
                  </a:lnTo>
                  <a:lnTo>
                    <a:pt x="f45" y="f46"/>
                  </a:lnTo>
                  <a:lnTo>
                    <a:pt x="f5" y="f47"/>
                  </a:lnTo>
                  <a:lnTo>
                    <a:pt x="f48" y="f49"/>
                  </a:lnTo>
                  <a:lnTo>
                    <a:pt x="f5" y="f50"/>
                  </a:lnTo>
                  <a:lnTo>
                    <a:pt x="f43" y="f7"/>
                  </a:lnTo>
                  <a:lnTo>
                    <a:pt x="f51" y="f52"/>
                  </a:lnTo>
                  <a:lnTo>
                    <a:pt x="f53" y="f52"/>
                  </a:lnTo>
                  <a:lnTo>
                    <a:pt x="f54" y="f55"/>
                  </a:lnTo>
                  <a:lnTo>
                    <a:pt x="f24" y="f56"/>
                  </a:lnTo>
                  <a:lnTo>
                    <a:pt x="f57" y="f58"/>
                  </a:lnTo>
                  <a:lnTo>
                    <a:pt x="f59" y="f60"/>
                  </a:lnTo>
                  <a:lnTo>
                    <a:pt x="f61" y="f62"/>
                  </a:lnTo>
                  <a:lnTo>
                    <a:pt x="f61" y="f34"/>
                  </a:lnTo>
                  <a:lnTo>
                    <a:pt x="f23" y="f29"/>
                  </a:lnTo>
                  <a:lnTo>
                    <a:pt x="f63" y="f64"/>
                  </a:lnTo>
                  <a:lnTo>
                    <a:pt x="f65" y="f66"/>
                  </a:lnTo>
                  <a:lnTo>
                    <a:pt x="f27" y="f67"/>
                  </a:lnTo>
                  <a:lnTo>
                    <a:pt x="f68" y="f69"/>
                  </a:lnTo>
                  <a:lnTo>
                    <a:pt x="f6" y="f70"/>
                  </a:lnTo>
                  <a:lnTo>
                    <a:pt x="f6" y="f71"/>
                  </a:lnTo>
                  <a:lnTo>
                    <a:pt x="f72" y="f73"/>
                  </a:lnTo>
                  <a:lnTo>
                    <a:pt x="f74" y="f75"/>
                  </a:lnTo>
                  <a:lnTo>
                    <a:pt x="f76" y="f77"/>
                  </a:lnTo>
                  <a:lnTo>
                    <a:pt x="f78" y="f77"/>
                  </a:lnTo>
                  <a:lnTo>
                    <a:pt x="f79" y="f80"/>
                  </a:lnTo>
                  <a:lnTo>
                    <a:pt x="f78" y="f81"/>
                  </a:lnTo>
                  <a:lnTo>
                    <a:pt x="f82" y="f83"/>
                  </a:lnTo>
                  <a:lnTo>
                    <a:pt x="f82" y="f38"/>
                  </a:lnTo>
                  <a:lnTo>
                    <a:pt x="f84" y="f45"/>
                  </a:lnTo>
                  <a:lnTo>
                    <a:pt x="f59" y="f5"/>
                  </a:lnTo>
                  <a:lnTo>
                    <a:pt x="f85" y="f10"/>
                  </a:lnTo>
                  <a:lnTo>
                    <a:pt x="f86" y="f87"/>
                  </a:lnTo>
                  <a:lnTo>
                    <a:pt x="f88" y="f87"/>
                  </a:lnTo>
                  <a:lnTo>
                    <a:pt x="f89" y="f90"/>
                  </a:lnTo>
                  <a:lnTo>
                    <a:pt x="f17" y="f91"/>
                  </a:lnTo>
                  <a:lnTo>
                    <a:pt x="f51" y="f92"/>
                  </a:lnTo>
                  <a:lnTo>
                    <a:pt x="f91" y="f92"/>
                  </a:lnTo>
                  <a:lnTo>
                    <a:pt x="f9" y="f93"/>
                  </a:lnTo>
                  <a:lnTo>
                    <a:pt x="f5" y="f8"/>
                  </a:lnTo>
                  <a:close/>
                </a:path>
              </a:pathLst>
            </a:custGeom>
            <a:solidFill>
              <a:srgbClr val="D9D9D9"/>
            </a:solidFill>
            <a:ln w="6345" cap="flat">
              <a:solidFill>
                <a:srgbClr val="A6A6A6"/>
              </a:solidFill>
              <a:prstDash val="solid"/>
              <a:round/>
            </a:ln>
          </p:spPr>
          <p:txBody>
            <a:bodyPr vert="horz" wrap="square" lIns="68580" tIns="34290" rIns="68580" bIns="34290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290" rtl="0" fontAlgn="auto" hangingPunct="1">
                <a:lnSpc>
                  <a:spcPct val="100000"/>
                </a:lnSpc>
                <a:spcBef>
                  <a:spcPts val="50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000" b="0" i="0" u="none" strike="noStrike" kern="0" cap="none" spc="0" baseline="0">
                <a:solidFill>
                  <a:srgbClr val="133B9C"/>
                </a:solidFill>
                <a:highlight>
                  <a:srgbClr val="008556"/>
                </a:highlight>
                <a:uFillTx/>
                <a:latin typeface="Arial"/>
              </a:endParaRPr>
            </a:p>
          </p:txBody>
        </p:sp>
      </p:grpSp>
      <p:sp>
        <p:nvSpPr>
          <p:cNvPr id="50" name="CasellaDiTesto 49">
            <a:extLst>
              <a:ext uri="{FF2B5EF4-FFF2-40B4-BE49-F238E27FC236}">
                <a16:creationId xmlns:a16="http://schemas.microsoft.com/office/drawing/2014/main" id="{5B35234C-D8E9-81B6-93C4-12CA38288FE7}"/>
              </a:ext>
            </a:extLst>
          </p:cNvPr>
          <p:cNvSpPr txBox="1"/>
          <p:nvPr/>
        </p:nvSpPr>
        <p:spPr>
          <a:xfrm flipH="1">
            <a:off x="53081" y="49040"/>
            <a:ext cx="12085837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1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Le informazioni e i dati di seguito riportati costituiscono informazioni confidenziali </a:t>
            </a:r>
            <a:r>
              <a:rPr kumimoji="0" lang="it-IT" sz="1050" b="1" i="1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che in alcun modo potranno essere utilizzate, divulgate a terzi ovvero formare oggetto di studi, comunicati stampa o annunci pubblici</a:t>
            </a:r>
            <a:endParaRPr kumimoji="0" lang="it-IT" sz="1050" b="0" i="1" u="sng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87687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Ap.h3ORc6ZnpMDlTDTK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nMEMCFR1KHu269WgEC_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Lln.SIiLsTWweUtYk3b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GEgx7GEkmT4lqNeFYv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y4GBLcRhafRJGBkeV.Q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hncqqNQDmBy4_992HQH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11xfU65i8WVwQs2VWF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DMmU42S3OF5QN8VJl_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K_bQqXTpifQ8GeKTvKa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EGP Template v2.7 [JPEG+VECTOR LOGO]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PG_PPTtemplate_v2-7[JPEG+VECTORLOGO]" id="{57611767-F261-BD4B-84E0-9D325519CB8C}" vid="{44F083EA-52AA-554D-87A9-B498B76F92E5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</TotalTime>
  <Words>1020</Words>
  <Application>Microsoft Office PowerPoint</Application>
  <PresentationFormat>Widescreen</PresentationFormat>
  <Paragraphs>101</Paragraphs>
  <Slides>6</Slides>
  <Notes>4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8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6</vt:i4>
      </vt:variant>
    </vt:vector>
  </HeadingPairs>
  <TitlesOfParts>
    <vt:vector size="16" baseType="lpstr">
      <vt:lpstr>Arial</vt:lpstr>
      <vt:lpstr>Calibri</vt:lpstr>
      <vt:lpstr>Courier New</vt:lpstr>
      <vt:lpstr>Frutiger 45 Light</vt:lpstr>
      <vt:lpstr>Lucida Grande</vt:lpstr>
      <vt:lpstr>Open Sans</vt:lpstr>
      <vt:lpstr>Roobert ENEL</vt:lpstr>
      <vt:lpstr>Wingdings</vt:lpstr>
      <vt:lpstr>1_EGP Template v2.7 [JPEG+VECTOR LOGO]</vt:lpstr>
      <vt:lpstr>Diapositiva think-cell</vt:lpstr>
      <vt:lpstr>Salone dell’agrivoltaico  MACFRUT 2025     Rimini, 07 Maggio 2025   </vt:lpstr>
      <vt:lpstr>Lo sviluppo delle rinnovabili in Italia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Politano Roberta (EGP&amp;TGX BD)</dc:creator>
  <cp:lastModifiedBy>D'Erasmo Marco (EGP&amp;TGX BD)</cp:lastModifiedBy>
  <cp:revision>8</cp:revision>
  <dcterms:created xsi:type="dcterms:W3CDTF">2024-05-03T14:15:27Z</dcterms:created>
  <dcterms:modified xsi:type="dcterms:W3CDTF">2025-05-05T14:14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HeaderLocations">
    <vt:lpwstr>1_EGP Template v2.7 [JPEG+VECTOR LOGO]:5</vt:lpwstr>
  </property>
  <property fmtid="{D5CDD505-2E9C-101B-9397-08002B2CF9AE}" pid="3" name="ClassificationContentMarkingHeaderText">
    <vt:lpwstr>INTERNAL</vt:lpwstr>
  </property>
  <property fmtid="{D5CDD505-2E9C-101B-9397-08002B2CF9AE}" pid="4" name="MSIP_Label_b284f6bf-f638-41cc-935f-2157ddac8142_Enabled">
    <vt:lpwstr>true</vt:lpwstr>
  </property>
  <property fmtid="{D5CDD505-2E9C-101B-9397-08002B2CF9AE}" pid="5" name="MSIP_Label_b284f6bf-f638-41cc-935f-2157ddac8142_SetDate">
    <vt:lpwstr>2024-05-06T05:04:59Z</vt:lpwstr>
  </property>
  <property fmtid="{D5CDD505-2E9C-101B-9397-08002B2CF9AE}" pid="6" name="MSIP_Label_b284f6bf-f638-41cc-935f-2157ddac8142_Method">
    <vt:lpwstr>Privileged</vt:lpwstr>
  </property>
  <property fmtid="{D5CDD505-2E9C-101B-9397-08002B2CF9AE}" pid="7" name="MSIP_Label_b284f6bf-f638-41cc-935f-2157ddac8142_Name">
    <vt:lpwstr>b284f6bf-f638-41cc-935f-2157ddac8142</vt:lpwstr>
  </property>
  <property fmtid="{D5CDD505-2E9C-101B-9397-08002B2CF9AE}" pid="8" name="MSIP_Label_b284f6bf-f638-41cc-935f-2157ddac8142_SiteId">
    <vt:lpwstr>d539d4bf-5610-471a-afc2-1c76685cfefa</vt:lpwstr>
  </property>
  <property fmtid="{D5CDD505-2E9C-101B-9397-08002B2CF9AE}" pid="9" name="MSIP_Label_b284f6bf-f638-41cc-935f-2157ddac8142_ActionId">
    <vt:lpwstr>08bc705c-320c-4f98-a62d-c650952a8f42</vt:lpwstr>
  </property>
  <property fmtid="{D5CDD505-2E9C-101B-9397-08002B2CF9AE}" pid="10" name="MSIP_Label_b284f6bf-f638-41cc-935f-2157ddac8142_ContentBits">
    <vt:lpwstr>0</vt:lpwstr>
  </property>
</Properties>
</file>